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theme/theme7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5"/>
    <p:sldMasterId id="2147483682" r:id="rId6"/>
    <p:sldMasterId id="2147483694" r:id="rId7"/>
    <p:sldMasterId id="2147483706" r:id="rId8"/>
    <p:sldMasterId id="2147483672" r:id="rId9"/>
    <p:sldMasterId id="2147484004" r:id="rId10"/>
    <p:sldMasterId id="2147484007" r:id="rId11"/>
    <p:sldMasterId id="2147484103" r:id="rId12"/>
    <p:sldMasterId id="2147484126" r:id="rId13"/>
  </p:sldMasterIdLst>
  <p:notesMasterIdLst>
    <p:notesMasterId r:id="rId28"/>
  </p:notesMasterIdLst>
  <p:handoutMasterIdLst>
    <p:handoutMasterId r:id="rId29"/>
  </p:handoutMasterIdLst>
  <p:sldIdLst>
    <p:sldId id="2147377350" r:id="rId14"/>
    <p:sldId id="353" r:id="rId15"/>
    <p:sldId id="2147377337" r:id="rId16"/>
    <p:sldId id="2141411980" r:id="rId17"/>
    <p:sldId id="2147377389" r:id="rId18"/>
    <p:sldId id="2147377381" r:id="rId19"/>
    <p:sldId id="2147377386" r:id="rId20"/>
    <p:sldId id="2147377362" r:id="rId21"/>
    <p:sldId id="288" r:id="rId22"/>
    <p:sldId id="2147377395" r:id="rId23"/>
    <p:sldId id="2147377390" r:id="rId24"/>
    <p:sldId id="2147377393" r:id="rId25"/>
    <p:sldId id="2147377383" r:id="rId26"/>
    <p:sldId id="2147377347" r:id="rId2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06" userDrawn="1">
          <p15:clr>
            <a:srgbClr val="A4A3A4"/>
          </p15:clr>
        </p15:guide>
        <p15:guide id="4" pos="7174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orient="horz" pos="663" userDrawn="1">
          <p15:clr>
            <a:srgbClr val="A4A3A4"/>
          </p15:clr>
        </p15:guide>
        <p15:guide id="7" orient="horz" pos="958" userDrawn="1">
          <p15:clr>
            <a:srgbClr val="A4A3A4"/>
          </p15:clr>
        </p15:guide>
        <p15:guide id="8" pos="3795" userDrawn="1">
          <p15:clr>
            <a:srgbClr val="A4A3A4"/>
          </p15:clr>
        </p15:guide>
        <p15:guide id="9" pos="3885" userDrawn="1">
          <p15:clr>
            <a:srgbClr val="A4A3A4"/>
          </p15:clr>
        </p15:guide>
        <p15:guide id="10" orient="horz" pos="3838" userDrawn="1">
          <p15:clr>
            <a:srgbClr val="A4A3A4"/>
          </p15:clr>
        </p15:guide>
        <p15:guide id="11" orient="horz" pos="754" userDrawn="1">
          <p15:clr>
            <a:srgbClr val="A4A3A4"/>
          </p15:clr>
        </p15:guide>
        <p15:guide id="12" orient="horz" pos="3884" userDrawn="1">
          <p15:clr>
            <a:srgbClr val="A4A3A4"/>
          </p15:clr>
        </p15:guide>
        <p15:guide id="13" orient="horz" pos="263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63D7563-E9A5-CAD1-3372-DC73E1D8E5F1}" name="KALYANPUR Anil (Storengy)" initials="KA(" userId="S::NH6113@engie.com::a810f60f-0251-4330-8c22-49186ff7614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7CEA"/>
    <a:srgbClr val="59B3C3"/>
    <a:srgbClr val="595959"/>
    <a:srgbClr val="414141"/>
    <a:srgbClr val="54B4C2"/>
    <a:srgbClr val="ED7D31"/>
    <a:srgbClr val="C55A11"/>
    <a:srgbClr val="55B893"/>
    <a:srgbClr val="56B7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481" autoAdjust="0"/>
  </p:normalViewPr>
  <p:slideViewPr>
    <p:cSldViewPr snapToGrid="0">
      <p:cViewPr varScale="1">
        <p:scale>
          <a:sx n="76" d="100"/>
          <a:sy n="76" d="100"/>
        </p:scale>
        <p:origin x="907" y="86"/>
      </p:cViewPr>
      <p:guideLst>
        <p:guide orient="horz" pos="2160"/>
        <p:guide pos="3840"/>
        <p:guide pos="506"/>
        <p:guide pos="7174"/>
        <p:guide orient="horz" pos="482"/>
        <p:guide orient="horz" pos="663"/>
        <p:guide orient="horz" pos="958"/>
        <p:guide pos="3795"/>
        <p:guide pos="3885"/>
        <p:guide orient="horz" pos="3838"/>
        <p:guide orient="horz" pos="754"/>
        <p:guide orient="horz" pos="3884"/>
        <p:guide orient="horz" pos="26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8/10/relationships/authors" Target="authors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6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F6B3385-EC4B-4FBA-BAA6-00C09AF443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EC8641-8191-4AD9-8E88-0B868C2CDD0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D634F-0E07-453F-A63E-FAF5609C2A70}" type="datetimeFigureOut">
              <a:rPr lang="de-DE" smtClean="0"/>
              <a:t>01.06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92BBDF4-1DEA-4B02-9D7D-493863FF4D3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AEC54C-3D3D-4602-BA80-C6A081F84A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56B4A9-B40D-4D69-87A5-0E338DC2336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6145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6C1B27-F719-4714-BD8B-9EBDA2E6DCA2}" type="datetimeFigureOut">
              <a:rPr lang="de-DE" smtClean="0"/>
              <a:t>01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B192D-E1FD-45CD-9465-2F26735E460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2951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FD4B7F-7D47-FF40-97B8-9F0797EED02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0083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9B192D-E1FD-45CD-9465-2F26735E460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814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9B192D-E1FD-45CD-9465-2F26735E460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331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9B192D-E1FD-45CD-9465-2F26735E4608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1305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44F1E669-B588-443E-8542-6A2DA41293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54B4C2"/>
                </a:solidFill>
                <a:latin typeface="+mn-lt"/>
              </a:defRPr>
            </a:lvl1pPr>
          </a:lstStyle>
          <a:p>
            <a:r>
              <a:rPr lang="fr-FR" err="1"/>
              <a:t>Mehr</a:t>
            </a:r>
            <a:r>
              <a:rPr lang="fr-FR"/>
              <a:t> </a:t>
            </a:r>
            <a:r>
              <a:rPr lang="fr-FR" err="1"/>
              <a:t>Informationen</a:t>
            </a:r>
            <a:endParaRPr lang="en-US"/>
          </a:p>
        </p:txBody>
      </p:sp>
      <p:sp>
        <p:nvSpPr>
          <p:cNvPr id="4" name="Sous-titre 2">
            <a:extLst>
              <a:ext uri="{FF2B5EF4-FFF2-40B4-BE49-F238E27FC236}">
                <a16:creationId xmlns:a16="http://schemas.microsoft.com/office/drawing/2014/main" id="{4DA82A39-83A6-4B7C-9AED-C944AE59FD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rgbClr val="55B89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Mehr</a:t>
            </a:r>
            <a:r>
              <a:rPr lang="fr-FR"/>
              <a:t> </a:t>
            </a:r>
            <a:r>
              <a:rPr lang="fr-FR" err="1"/>
              <a:t>Information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3264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9A05265-8162-4975-8813-62E9E2B5495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6C8AFD78-90B9-4205-9709-019DA8066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032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E4DEFD5-3FAE-47AA-821D-456E3CB69DE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13592E9-225F-4DE3-9710-9DAF6F6B968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Bild</a:t>
            </a:r>
            <a:r>
              <a:rPr lang="fr-FR"/>
              <a:t>/</a:t>
            </a:r>
            <a:r>
              <a:rPr lang="fr-FR" err="1"/>
              <a:t>Video</a:t>
            </a:r>
            <a:endParaRPr lang="en-US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076E8E4F-7621-4914-9DBC-809F1DCE88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B1F5C37F-2B39-453B-AD83-D723900E1AB5}"/>
              </a:ext>
            </a:extLst>
          </p:cNvPr>
          <p:cNvCxnSpPr>
            <a:cxnSpLocks/>
          </p:cNvCxnSpPr>
          <p:nvPr userDrawn="1"/>
        </p:nvCxnSpPr>
        <p:spPr>
          <a:xfrm>
            <a:off x="6093970" y="2508153"/>
            <a:ext cx="1" cy="2441893"/>
          </a:xfrm>
          <a:prstGeom prst="line">
            <a:avLst/>
          </a:prstGeom>
          <a:ln w="155575">
            <a:solidFill>
              <a:srgbClr val="56B7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1333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07B171-4E20-4181-84C6-105E672844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EA8591D-5C0E-4F56-84FE-CB73326537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Unter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378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A357212-98CB-4B99-9925-F601AC4B02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B69A8334-4A7B-4B7A-A362-56B56AFD3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2633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36645A1-EDA4-44C8-8262-3C141EDE433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AB6BC563-1A42-4B04-8616-DB50F931946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Bild</a:t>
            </a:r>
            <a:r>
              <a:rPr lang="fr-FR"/>
              <a:t>/</a:t>
            </a:r>
            <a:r>
              <a:rPr lang="fr-FR" err="1"/>
              <a:t>Video</a:t>
            </a:r>
            <a:endParaRPr lang="en-US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72A77381-5799-4073-A244-A272C142C1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A76FA9F3-7F49-470A-861A-6C0F155AA758}"/>
              </a:ext>
            </a:extLst>
          </p:cNvPr>
          <p:cNvCxnSpPr>
            <a:cxnSpLocks/>
          </p:cNvCxnSpPr>
          <p:nvPr userDrawn="1"/>
        </p:nvCxnSpPr>
        <p:spPr>
          <a:xfrm>
            <a:off x="6093970" y="2508153"/>
            <a:ext cx="1" cy="2441893"/>
          </a:xfrm>
          <a:prstGeom prst="line">
            <a:avLst/>
          </a:prstGeom>
          <a:ln w="155575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07811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04331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6">
            <a:extLst>
              <a:ext uri="{FF2B5EF4-FFF2-40B4-BE49-F238E27FC236}">
                <a16:creationId xmlns:a16="http://schemas.microsoft.com/office/drawing/2014/main" id="{6F77CAC9-1C4F-A544-9BAC-643D9CE659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0740" y="816612"/>
            <a:ext cx="10455274" cy="295275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1400" b="0" cap="all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SUBTITL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6B44C223-5313-6945-8429-D151D0A7DB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740" y="447280"/>
            <a:ext cx="10455273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kumimoji="0" lang="fr-FR" sz="2400" kern="0" spc="0" normalizeH="0" dirty="0">
                <a:ln>
                  <a:noFill/>
                </a:ln>
                <a:gradFill flip="none" rotWithShape="1">
                  <a:gsLst>
                    <a:gs pos="100000">
                      <a:schemeClr val="accent6"/>
                    </a:gs>
                    <a:gs pos="0">
                      <a:schemeClr val="accent2"/>
                    </a:gs>
                  </a:gsLst>
                  <a:lin ang="8100000" scaled="1"/>
                  <a:tileRect/>
                </a:gradFill>
                <a:effectLst/>
                <a:uLnTx/>
                <a:uFillTx/>
              </a:defRPr>
            </a:lvl1pPr>
          </a:lstStyle>
          <a:p>
            <a:pPr marL="0" lvl="0" indent="0" defTabSz="914400" eaLnBrk="1" fontAlgn="auto" latinLnBrk="0" hangingPunct="1">
              <a:buSzTx/>
              <a:buNone/>
              <a:tabLst/>
            </a:pPr>
            <a:r>
              <a:rPr lang="fr-FR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64593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contenu 4">
            <a:extLst>
              <a:ext uri="{FF2B5EF4-FFF2-40B4-BE49-F238E27FC236}">
                <a16:creationId xmlns:a16="http://schemas.microsoft.com/office/drawing/2014/main" id="{751E933B-F8F1-4362-AFDF-8DB658D4627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6834" y="1572684"/>
            <a:ext cx="11228916" cy="42650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6894951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498D1AB1-48AE-42D2-AD09-B782287BD3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55622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6A0AA5-4065-43CC-93AB-A98562B53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l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D67DE69-DCA5-491F-9D7D-C1660A61655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/>
            </a:lvl2pPr>
          </a:lstStyle>
          <a:p>
            <a:pPr lvl="0"/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7415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44">
            <a:extLst>
              <a:ext uri="{FF2B5EF4-FFF2-40B4-BE49-F238E27FC236}">
                <a16:creationId xmlns:a16="http://schemas.microsoft.com/office/drawing/2014/main" id="{9A908EA2-FFCE-4C30-9291-811E55FAA446}"/>
              </a:ext>
            </a:extLst>
          </p:cNvPr>
          <p:cNvSpPr>
            <a:spLocks/>
          </p:cNvSpPr>
          <p:nvPr userDrawn="1"/>
        </p:nvSpPr>
        <p:spPr>
          <a:xfrm>
            <a:off x="4140710" y="4402622"/>
            <a:ext cx="6368143" cy="68589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estibulum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olutpa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nisi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tristique libero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scelerisque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lobort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. Integer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sapien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mi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euismod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ac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rutrum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at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porttitor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ac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odio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. Ut in erat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ege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ipsum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ariu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pretium a eu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fel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. </a:t>
            </a:r>
          </a:p>
        </p:txBody>
      </p:sp>
      <p:sp>
        <p:nvSpPr>
          <p:cNvPr id="4" name="Rounded Rectangle 42">
            <a:extLst>
              <a:ext uri="{FF2B5EF4-FFF2-40B4-BE49-F238E27FC236}">
                <a16:creationId xmlns:a16="http://schemas.microsoft.com/office/drawing/2014/main" id="{1B42E7DD-3C4A-491C-A7BE-17CA80BDB6DC}"/>
              </a:ext>
            </a:extLst>
          </p:cNvPr>
          <p:cNvSpPr>
            <a:spLocks/>
          </p:cNvSpPr>
          <p:nvPr userDrawn="1"/>
        </p:nvSpPr>
        <p:spPr>
          <a:xfrm>
            <a:off x="1660706" y="4483518"/>
            <a:ext cx="1904594" cy="7103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fr-FR" b="1">
                <a:solidFill>
                  <a:srgbClr val="F78A31"/>
                </a:solidFill>
                <a:latin typeface="+mn-lt"/>
                <a:ea typeface="MS PGothic"/>
              </a:rPr>
              <a:t>Geothermie</a:t>
            </a:r>
            <a:endParaRPr lang="fr-FR" b="1">
              <a:solidFill>
                <a:srgbClr val="F78A31"/>
              </a:solidFill>
              <a:latin typeface="+mn-lt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7CFFF6-3977-4BE3-8229-09595B676CC2}"/>
              </a:ext>
            </a:extLst>
          </p:cNvPr>
          <p:cNvSpPr/>
          <p:nvPr userDrawn="1"/>
        </p:nvSpPr>
        <p:spPr>
          <a:xfrm>
            <a:off x="1108402" y="2297894"/>
            <a:ext cx="3009203" cy="68480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fr-FR" sz="2000" b="1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Natural Ga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fr-FR" sz="2000" b="1" err="1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Speicher</a:t>
            </a:r>
            <a:endParaRPr lang="fr-FR" sz="2000">
              <a:solidFill>
                <a:srgbClr val="59B3C3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6" name="Rounded Rectangle 42">
            <a:extLst>
              <a:ext uri="{FF2B5EF4-FFF2-40B4-BE49-F238E27FC236}">
                <a16:creationId xmlns:a16="http://schemas.microsoft.com/office/drawing/2014/main" id="{1F43564A-16AC-4E12-A160-4D82D66742E6}"/>
              </a:ext>
            </a:extLst>
          </p:cNvPr>
          <p:cNvSpPr>
            <a:spLocks/>
          </p:cNvSpPr>
          <p:nvPr userDrawn="1"/>
        </p:nvSpPr>
        <p:spPr>
          <a:xfrm>
            <a:off x="4152331" y="2413306"/>
            <a:ext cx="6368143" cy="6663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ivamu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enenat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convall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orci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. Suspendisse mollis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aliquam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ero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ac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pharetra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ligula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molestie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in.</a:t>
            </a:r>
          </a:p>
        </p:txBody>
      </p:sp>
      <p:sp>
        <p:nvSpPr>
          <p:cNvPr id="7" name="Rounded Rectangle 42">
            <a:extLst>
              <a:ext uri="{FF2B5EF4-FFF2-40B4-BE49-F238E27FC236}">
                <a16:creationId xmlns:a16="http://schemas.microsoft.com/office/drawing/2014/main" id="{9F16926D-A2C3-4E66-9498-99EA8C1679FF}"/>
              </a:ext>
            </a:extLst>
          </p:cNvPr>
          <p:cNvSpPr>
            <a:spLocks/>
          </p:cNvSpPr>
          <p:nvPr userDrawn="1"/>
        </p:nvSpPr>
        <p:spPr>
          <a:xfrm>
            <a:off x="1250609" y="3304586"/>
            <a:ext cx="2558414" cy="24882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fr-FR" sz="2000" b="1">
                <a:solidFill>
                  <a:srgbClr val="55B893"/>
                </a:solidFill>
                <a:latin typeface="+mn-lt"/>
                <a:ea typeface="MS PGothic"/>
              </a:rPr>
              <a:t>Gas </a:t>
            </a:r>
          </a:p>
          <a:p>
            <a:pPr algn="ctr">
              <a:lnSpc>
                <a:spcPct val="90000"/>
              </a:lnSpc>
            </a:pPr>
            <a:r>
              <a:rPr lang="fr-FR" sz="2000" b="1" err="1">
                <a:solidFill>
                  <a:srgbClr val="55B893"/>
                </a:solidFill>
                <a:latin typeface="+mn-lt"/>
                <a:ea typeface="MS PGothic"/>
              </a:rPr>
              <a:t>erneuerbar</a:t>
            </a:r>
            <a:endParaRPr lang="fr-FR" sz="2000" b="1">
              <a:solidFill>
                <a:srgbClr val="55B893"/>
              </a:solidFill>
              <a:latin typeface="+mn-lt"/>
              <a:cs typeface="Calibri"/>
            </a:endParaRPr>
          </a:p>
        </p:txBody>
      </p:sp>
      <p:sp>
        <p:nvSpPr>
          <p:cNvPr id="8" name="Rounded Rectangle 40">
            <a:extLst>
              <a:ext uri="{FF2B5EF4-FFF2-40B4-BE49-F238E27FC236}">
                <a16:creationId xmlns:a16="http://schemas.microsoft.com/office/drawing/2014/main" id="{553CAE04-2303-4513-BEAC-E1E8D090EB38}"/>
              </a:ext>
            </a:extLst>
          </p:cNvPr>
          <p:cNvSpPr>
            <a:spLocks/>
          </p:cNvSpPr>
          <p:nvPr userDrawn="1"/>
        </p:nvSpPr>
        <p:spPr>
          <a:xfrm>
            <a:off x="4152330" y="3397852"/>
            <a:ext cx="6096001" cy="4680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Cras dictum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lacu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sed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convall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enenatis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neque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eli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suscipi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lorem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,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si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amet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euismod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ipsum magna </a:t>
            </a:r>
            <a:r>
              <a:rPr lang="fr-FR" sz="1600" b="1" err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vel</a:t>
            </a:r>
            <a:r>
              <a:rPr lang="fr-FR" sz="1600" b="1">
                <a:solidFill>
                  <a:schemeClr val="bg2">
                    <a:lumMod val="50000"/>
                  </a:schemeClr>
                </a:solidFill>
                <a:latin typeface="Calibri"/>
                <a:ea typeface="MS PGothic"/>
                <a:cs typeface="Calibri"/>
              </a:rPr>
              <a:t> est.</a:t>
            </a:r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73148A8D-A4CB-495F-AC1D-7880672A7F42}"/>
              </a:ext>
            </a:extLst>
          </p:cNvPr>
          <p:cNvSpPr txBox="1">
            <a:spLocks/>
          </p:cNvSpPr>
          <p:nvPr userDrawn="1"/>
        </p:nvSpPr>
        <p:spPr>
          <a:xfrm>
            <a:off x="1064722" y="807238"/>
            <a:ext cx="10058496" cy="755535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1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9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4000" b="1" err="1">
                <a:solidFill>
                  <a:srgbClr val="59B3C3"/>
                </a:solidFill>
                <a:latin typeface="+mn-lt"/>
              </a:rPr>
              <a:t>Zusammenfassung</a:t>
            </a:r>
            <a:endParaRPr lang="fr-FR" sz="4000" b="1">
              <a:solidFill>
                <a:srgbClr val="59B3C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54157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1">
            <a:extLst>
              <a:ext uri="{FF2B5EF4-FFF2-40B4-BE49-F238E27FC236}">
                <a16:creationId xmlns:a16="http://schemas.microsoft.com/office/drawing/2014/main" id="{8147C2B1-99C0-4B15-9C36-0A38CDE8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1157"/>
            <a:ext cx="10515600" cy="7012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54B4C2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B8336BC0-47C3-4FD9-871F-6EE8DBB693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5336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logo Storen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85534A5-18CC-E62B-CD9D-16B42786888A}"/>
              </a:ext>
            </a:extLst>
          </p:cNvPr>
          <p:cNvSpPr/>
          <p:nvPr userDrawn="1"/>
        </p:nvSpPr>
        <p:spPr bwMode="white">
          <a:xfrm>
            <a:off x="-1" y="0"/>
            <a:ext cx="12192001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sp>
        <p:nvSpPr>
          <p:cNvPr id="7" name="Demi-cadre 6">
            <a:extLst>
              <a:ext uri="{FF2B5EF4-FFF2-40B4-BE49-F238E27FC236}">
                <a16:creationId xmlns:a16="http://schemas.microsoft.com/office/drawing/2014/main" id="{7A1368CD-E573-4A53-6EDE-15DD94A23401}"/>
              </a:ext>
            </a:extLst>
          </p:cNvPr>
          <p:cNvSpPr/>
          <p:nvPr userDrawn="1"/>
        </p:nvSpPr>
        <p:spPr>
          <a:xfrm>
            <a:off x="0" y="0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Demi-cadre 7">
            <a:extLst>
              <a:ext uri="{FF2B5EF4-FFF2-40B4-BE49-F238E27FC236}">
                <a16:creationId xmlns:a16="http://schemas.microsoft.com/office/drawing/2014/main" id="{E1C29310-F52E-A022-6688-8193DB550E2A}"/>
              </a:ext>
            </a:extLst>
          </p:cNvPr>
          <p:cNvSpPr/>
          <p:nvPr userDrawn="1"/>
        </p:nvSpPr>
        <p:spPr>
          <a:xfrm rot="10800000">
            <a:off x="11212286" y="5986463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4847D27-5638-7EF1-8381-1D218A3609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black">
          <a:xfrm>
            <a:off x="4017635" y="2636673"/>
            <a:ext cx="4156730" cy="1584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99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3">
            <a:extLst>
              <a:ext uri="{FF2B5EF4-FFF2-40B4-BE49-F238E27FC236}">
                <a16:creationId xmlns:a16="http://schemas.microsoft.com/office/drawing/2014/main" id="{6E16E174-210D-5A30-D5B1-54507280A2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078684" y="0"/>
            <a:ext cx="3113315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9" name="Titre 7">
            <a:extLst>
              <a:ext uri="{FF2B5EF4-FFF2-40B4-BE49-F238E27FC236}">
                <a16:creationId xmlns:a16="http://schemas.microsoft.com/office/drawing/2014/main" id="{BFB1F148-46D4-EE4C-8852-745A7806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2950" y="2143368"/>
            <a:ext cx="7392308" cy="2571264"/>
          </a:xfrm>
        </p:spPr>
        <p:txBody>
          <a:bodyPr anchor="ctr" anchorCtr="0"/>
          <a:lstStyle>
            <a:lvl1pPr>
              <a:defRPr sz="66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en-GB" noProof="0" err="1"/>
              <a:t>Modifiez</a:t>
            </a:r>
            <a:r>
              <a:rPr lang="en-GB" noProof="0"/>
              <a:t> </a:t>
            </a:r>
            <a:br>
              <a:rPr lang="en-GB" noProof="0"/>
            </a:br>
            <a:r>
              <a:rPr lang="en-GB" noProof="0"/>
              <a:t>le style </a:t>
            </a:r>
            <a:br>
              <a:rPr lang="en-GB" noProof="0"/>
            </a:br>
            <a:r>
              <a:rPr lang="en-GB" noProof="0"/>
              <a:t>du titre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FE797DE8-96B6-E24C-8B6E-9DAD02668BAE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9027208" y="0"/>
            <a:ext cx="0" cy="6858000"/>
          </a:xfrm>
          <a:prstGeom prst="line">
            <a:avLst/>
          </a:prstGeom>
          <a:ln w="12700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emi-cadre 11">
            <a:extLst>
              <a:ext uri="{FF2B5EF4-FFF2-40B4-BE49-F238E27FC236}">
                <a16:creationId xmlns:a16="http://schemas.microsoft.com/office/drawing/2014/main" id="{2B85FC35-6724-C5C6-5089-5FC377579A92}"/>
              </a:ext>
            </a:extLst>
          </p:cNvPr>
          <p:cNvSpPr/>
          <p:nvPr userDrawn="1"/>
        </p:nvSpPr>
        <p:spPr>
          <a:xfrm rot="10800000">
            <a:off x="11212286" y="5986463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307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_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re 7">
            <a:extLst>
              <a:ext uri="{FF2B5EF4-FFF2-40B4-BE49-F238E27FC236}">
                <a16:creationId xmlns:a16="http://schemas.microsoft.com/office/drawing/2014/main" id="{BFB1F148-46D4-EE4C-8852-745A7806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8420" y="2143368"/>
            <a:ext cx="6877957" cy="2571264"/>
          </a:xfrm>
        </p:spPr>
        <p:txBody>
          <a:bodyPr anchor="ctr" anchorCtr="0"/>
          <a:lstStyle>
            <a:lvl1pPr>
              <a:defRPr sz="66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fr-FR"/>
              <a:t>Modifiez </a:t>
            </a:r>
            <a:br>
              <a:rPr lang="fr-FR"/>
            </a:br>
            <a:r>
              <a:rPr lang="fr-FR"/>
              <a:t>le style </a:t>
            </a:r>
            <a:br>
              <a:rPr lang="fr-FR"/>
            </a:br>
            <a:r>
              <a:rPr lang="fr-FR"/>
              <a:t>du titre</a:t>
            </a:r>
            <a:endParaRPr lang="en-GB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FE797DE8-96B6-E24C-8B6E-9DAD02668BAE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1169083" y="2143368"/>
            <a:ext cx="0" cy="2571264"/>
          </a:xfrm>
          <a:prstGeom prst="line">
            <a:avLst/>
          </a:prstGeom>
          <a:ln w="12700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emi-cadre 11">
            <a:extLst>
              <a:ext uri="{FF2B5EF4-FFF2-40B4-BE49-F238E27FC236}">
                <a16:creationId xmlns:a16="http://schemas.microsoft.com/office/drawing/2014/main" id="{2B85FC35-6724-C5C6-5089-5FC377579A92}"/>
              </a:ext>
            </a:extLst>
          </p:cNvPr>
          <p:cNvSpPr/>
          <p:nvPr userDrawn="1"/>
        </p:nvSpPr>
        <p:spPr>
          <a:xfrm rot="10800000">
            <a:off x="11212286" y="5986463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339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Titre de la slide contenu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7B371C6-08A1-C845-BA9A-DCAD65F807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2" name="Espace réservé du texte 6">
            <a:extLst>
              <a:ext uri="{FF2B5EF4-FFF2-40B4-BE49-F238E27FC236}">
                <a16:creationId xmlns:a16="http://schemas.microsoft.com/office/drawing/2014/main" id="{D39D655E-7BB6-474A-8A1B-47DAE93787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3863" y="1885950"/>
            <a:ext cx="11334750" cy="4100513"/>
          </a:xfrm>
        </p:spPr>
        <p:txBody>
          <a:bodyPr lIns="251999"/>
          <a:lstStyle/>
          <a:p>
            <a:pPr lvl="0"/>
            <a:r>
              <a:rPr lang="en-GB" noProof="0"/>
              <a:t>Cliquez pour modifier les styles du texte du masque</a:t>
            </a:r>
          </a:p>
          <a:p>
            <a:pPr lvl="1"/>
            <a:r>
              <a:rPr lang="en-GB" noProof="0"/>
              <a:t>Deuxième niveau</a:t>
            </a:r>
          </a:p>
          <a:p>
            <a:pPr lvl="2"/>
            <a:r>
              <a:rPr lang="en-GB" noProof="0"/>
              <a:t>Troisième niveau</a:t>
            </a:r>
          </a:p>
          <a:p>
            <a:pPr lvl="3"/>
            <a:r>
              <a:rPr lang="en-GB" noProof="0"/>
              <a:t>Quatrième niveau</a:t>
            </a:r>
          </a:p>
          <a:p>
            <a:pPr lvl="4"/>
            <a:r>
              <a:rPr lang="en-GB" noProof="0"/>
              <a:t>Cinquième niveau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4A569C9-EDFD-4F48-35AF-1707028A3E5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err="1"/>
              <a:t>October</a:t>
            </a:r>
            <a:r>
              <a:rPr lang="fr-FR"/>
              <a:t> 11, 2022</a:t>
            </a:r>
          </a:p>
        </p:txBody>
      </p:sp>
    </p:spTree>
    <p:extLst>
      <p:ext uri="{BB962C8B-B14F-4D97-AF65-F5344CB8AC3E}">
        <p14:creationId xmlns:p14="http://schemas.microsoft.com/office/powerpoint/2010/main" val="1038038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cou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avec deux colonn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789C344-C2D8-6F42-89CD-9D7CBD0BC1CA}"/>
              </a:ext>
            </a:extLst>
          </p:cNvPr>
          <p:cNvSpPr>
            <a:spLocks noGrp="1"/>
          </p:cNvSpPr>
          <p:nvPr>
            <p:ph idx="1"/>
          </p:nvPr>
        </p:nvSpPr>
        <p:spPr bwMode="hidden">
          <a:xfrm>
            <a:off x="566580" y="1644572"/>
            <a:ext cx="3400155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848254BA-E952-6349-9482-FAAB01553AA1}"/>
              </a:ext>
            </a:extLst>
          </p:cNvPr>
          <p:cNvSpPr>
            <a:spLocks noGrp="1"/>
          </p:cNvSpPr>
          <p:nvPr>
            <p:ph idx="13"/>
          </p:nvPr>
        </p:nvSpPr>
        <p:spPr bwMode="hidden">
          <a:xfrm>
            <a:off x="4429572" y="1644572"/>
            <a:ext cx="3414011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2C1E9D84-34ED-3049-AB73-F07E1542790A}"/>
              </a:ext>
            </a:extLst>
          </p:cNvPr>
          <p:cNvSpPr>
            <a:spLocks noGrp="1"/>
          </p:cNvSpPr>
          <p:nvPr>
            <p:ph idx="14"/>
          </p:nvPr>
        </p:nvSpPr>
        <p:spPr bwMode="hidden">
          <a:xfrm>
            <a:off x="8346202" y="1644572"/>
            <a:ext cx="3415584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8ED56621-7B84-1A42-9B9C-A5B861952D0B}"/>
              </a:ext>
            </a:extLst>
          </p:cNvPr>
          <p:cNvSpPr>
            <a:spLocks noGrp="1"/>
          </p:cNvSpPr>
          <p:nvPr>
            <p:ph idx="15"/>
          </p:nvPr>
        </p:nvSpPr>
        <p:spPr bwMode="hidden">
          <a:xfrm>
            <a:off x="566580" y="3707052"/>
            <a:ext cx="3400163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BBA38B1D-9F55-0046-AB7B-66B67D5E895A}"/>
              </a:ext>
            </a:extLst>
          </p:cNvPr>
          <p:cNvSpPr>
            <a:spLocks noGrp="1"/>
          </p:cNvSpPr>
          <p:nvPr>
            <p:ph idx="16"/>
          </p:nvPr>
        </p:nvSpPr>
        <p:spPr bwMode="hidden">
          <a:xfrm>
            <a:off x="4429572" y="3707052"/>
            <a:ext cx="3414011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75180D8B-B1B4-1B4A-A19B-A0AB001AE5DD}"/>
              </a:ext>
            </a:extLst>
          </p:cNvPr>
          <p:cNvSpPr>
            <a:spLocks noGrp="1"/>
          </p:cNvSpPr>
          <p:nvPr>
            <p:ph idx="17"/>
          </p:nvPr>
        </p:nvSpPr>
        <p:spPr bwMode="hidden">
          <a:xfrm>
            <a:off x="8346202" y="3707052"/>
            <a:ext cx="3415584" cy="1724159"/>
          </a:xfrm>
          <a:solidFill>
            <a:schemeClr val="bg1">
              <a:lumMod val="95000"/>
            </a:schemeClr>
          </a:solidFill>
        </p:spPr>
        <p:txBody>
          <a:bodyPr lIns="72000" tIns="180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6D30AA7-A06F-EB49-BE2D-1FFF1A8AEA6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25" name="Espace réservé du texte 5">
            <a:extLst>
              <a:ext uri="{FF2B5EF4-FFF2-40B4-BE49-F238E27FC236}">
                <a16:creationId xmlns:a16="http://schemas.microsoft.com/office/drawing/2014/main" id="{0273E5BE-07AB-330F-F161-69A1E019FC6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3615" y="164457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7" name="Espace réservé du texte 5">
            <a:extLst>
              <a:ext uri="{FF2B5EF4-FFF2-40B4-BE49-F238E27FC236}">
                <a16:creationId xmlns:a16="http://schemas.microsoft.com/office/drawing/2014/main" id="{412FAE2C-4653-ECDF-BDCF-544E5D1A926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11370" y="164457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:a16="http://schemas.microsoft.com/office/drawing/2014/main" id="{57AA5E87-F86A-E78A-598B-1D1921AABE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218205" y="164457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5">
            <a:extLst>
              <a:ext uri="{FF2B5EF4-FFF2-40B4-BE49-F238E27FC236}">
                <a16:creationId xmlns:a16="http://schemas.microsoft.com/office/drawing/2014/main" id="{917F5BEB-2D28-25DD-ED61-0F7CC877CBB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3615" y="370705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5">
            <a:extLst>
              <a:ext uri="{FF2B5EF4-FFF2-40B4-BE49-F238E27FC236}">
                <a16:creationId xmlns:a16="http://schemas.microsoft.com/office/drawing/2014/main" id="{55C134AE-D698-BB46-1C7E-E1084569F06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311370" y="370705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7" name="Espace réservé du texte 5">
            <a:extLst>
              <a:ext uri="{FF2B5EF4-FFF2-40B4-BE49-F238E27FC236}">
                <a16:creationId xmlns:a16="http://schemas.microsoft.com/office/drawing/2014/main" id="{E4471042-0591-6134-FAE2-4161DB3BA91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218205" y="3707053"/>
            <a:ext cx="122965" cy="1724158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A682591-D4B9-107E-45D6-94CB1A8836A3}"/>
              </a:ext>
            </a:extLst>
          </p:cNvPr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45898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iffres clefs_Fond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789C344-C2D8-6F42-89CD-9D7CBD0BC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050" y="1704841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848254BA-E952-6349-9482-FAAB01553AA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484145" y="1704841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marL="182563" marR="0" lvl="0" indent="-17462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2C1E9D84-34ED-3049-AB73-F07E1542790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314240" y="1704841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C160CCF-4C20-F344-A235-2CDFB41155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C99A79B-0BD6-734C-8DE5-30C22E8A35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65B50D22-6538-B647-AFAA-491C9521E521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54050" y="3888483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082A2DD8-3620-5B44-9D27-CA1F5974C6E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484145" y="3888483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marL="182563" marR="0" lvl="0" indent="-17462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6DEE711F-6415-3D41-B3C5-CA7B2D5155C9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314240" y="3888483"/>
            <a:ext cx="3223710" cy="1724159"/>
          </a:xfrm>
          <a:noFill/>
        </p:spPr>
        <p:txBody>
          <a:bodyPr lIns="72000" tIns="180000" bIns="1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6717F82F-E070-B223-F8C0-9690C66FB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16" name="Demi-cadre 15">
            <a:extLst>
              <a:ext uri="{FF2B5EF4-FFF2-40B4-BE49-F238E27FC236}">
                <a16:creationId xmlns:a16="http://schemas.microsoft.com/office/drawing/2014/main" id="{618EA65F-1F92-2180-7B9C-9DF0F903E376}"/>
              </a:ext>
            </a:extLst>
          </p:cNvPr>
          <p:cNvSpPr/>
          <p:nvPr userDrawn="1"/>
        </p:nvSpPr>
        <p:spPr>
          <a:xfrm>
            <a:off x="0" y="0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Demi-cadre 16">
            <a:extLst>
              <a:ext uri="{FF2B5EF4-FFF2-40B4-BE49-F238E27FC236}">
                <a16:creationId xmlns:a16="http://schemas.microsoft.com/office/drawing/2014/main" id="{39D00C48-BF4E-29A4-0297-10CCEFF75A44}"/>
              </a:ext>
            </a:extLst>
          </p:cNvPr>
          <p:cNvSpPr/>
          <p:nvPr userDrawn="1"/>
        </p:nvSpPr>
        <p:spPr>
          <a:xfrm rot="10800000">
            <a:off x="11223861" y="5986463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54A6A75-F5B7-7CEE-0CEB-15A1621DD95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728741" y="6037488"/>
            <a:ext cx="1023172" cy="390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280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avec deux colonne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789C344-C2D8-6F42-89CD-9D7CBD0BC1CA}"/>
              </a:ext>
            </a:extLst>
          </p:cNvPr>
          <p:cNvSpPr>
            <a:spLocks noGrp="1"/>
          </p:cNvSpPr>
          <p:nvPr>
            <p:ph idx="1"/>
          </p:nvPr>
        </p:nvSpPr>
        <p:spPr bwMode="hidden">
          <a:xfrm>
            <a:off x="1844031" y="1380158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8ED56621-7B84-1A42-9B9C-A5B861952D0B}"/>
              </a:ext>
            </a:extLst>
          </p:cNvPr>
          <p:cNvSpPr>
            <a:spLocks noGrp="1"/>
          </p:cNvSpPr>
          <p:nvPr>
            <p:ph idx="15"/>
          </p:nvPr>
        </p:nvSpPr>
        <p:spPr bwMode="hidden">
          <a:xfrm>
            <a:off x="1844031" y="3728911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2">
            <a:extLst>
              <a:ext uri="{FF2B5EF4-FFF2-40B4-BE49-F238E27FC236}">
                <a16:creationId xmlns:a16="http://schemas.microsoft.com/office/drawing/2014/main" id="{CFBADCE1-21FC-F249-A05E-5EB6ACD6306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04528" y="1380158"/>
            <a:ext cx="815955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4" name="Espace réservé pour une image  12">
            <a:extLst>
              <a:ext uri="{FF2B5EF4-FFF2-40B4-BE49-F238E27FC236}">
                <a16:creationId xmlns:a16="http://schemas.microsoft.com/office/drawing/2014/main" id="{D108BEC3-E88E-5843-90DE-04FC16E2B61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75164" y="1380158"/>
            <a:ext cx="879070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5" name="Espace réservé pour une image  12">
            <a:extLst>
              <a:ext uri="{FF2B5EF4-FFF2-40B4-BE49-F238E27FC236}">
                <a16:creationId xmlns:a16="http://schemas.microsoft.com/office/drawing/2014/main" id="{ABD28715-0B3F-1840-A568-C23D5D185A7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80696" y="1380158"/>
            <a:ext cx="902856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6" name="Espace réservé pour une image  12">
            <a:extLst>
              <a:ext uri="{FF2B5EF4-FFF2-40B4-BE49-F238E27FC236}">
                <a16:creationId xmlns:a16="http://schemas.microsoft.com/office/drawing/2014/main" id="{C259E8AE-B3ED-4445-B347-4AF7CB3839B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4528" y="3728911"/>
            <a:ext cx="815955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7" name="Espace réservé pour une image  12">
            <a:extLst>
              <a:ext uri="{FF2B5EF4-FFF2-40B4-BE49-F238E27FC236}">
                <a16:creationId xmlns:a16="http://schemas.microsoft.com/office/drawing/2014/main" id="{80F6FD25-FCA5-5F4B-9B9A-49FA8BB26C5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75164" y="3728911"/>
            <a:ext cx="879070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Espace réservé pour une image  12">
            <a:extLst>
              <a:ext uri="{FF2B5EF4-FFF2-40B4-BE49-F238E27FC236}">
                <a16:creationId xmlns:a16="http://schemas.microsoft.com/office/drawing/2014/main" id="{B2BA9A17-41CE-934B-BF6D-96A57B090B5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80696" y="3728911"/>
            <a:ext cx="902856" cy="1949155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AAA6029-81D1-4142-A20D-7511440A910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25" name="Espace réservé du contenu 2">
            <a:extLst>
              <a:ext uri="{FF2B5EF4-FFF2-40B4-BE49-F238E27FC236}">
                <a16:creationId xmlns:a16="http://schemas.microsoft.com/office/drawing/2014/main" id="{472AC11A-6B5A-DB10-474B-A80499EC1996}"/>
              </a:ext>
            </a:extLst>
          </p:cNvPr>
          <p:cNvSpPr>
            <a:spLocks noGrp="1"/>
          </p:cNvSpPr>
          <p:nvPr>
            <p:ph idx="26"/>
          </p:nvPr>
        </p:nvSpPr>
        <p:spPr bwMode="hidden">
          <a:xfrm>
            <a:off x="5475817" y="1380158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6" name="Espace réservé du contenu 2">
            <a:extLst>
              <a:ext uri="{FF2B5EF4-FFF2-40B4-BE49-F238E27FC236}">
                <a16:creationId xmlns:a16="http://schemas.microsoft.com/office/drawing/2014/main" id="{2DD0753B-A5F9-DB54-8B31-7A8F32642D53}"/>
              </a:ext>
            </a:extLst>
          </p:cNvPr>
          <p:cNvSpPr>
            <a:spLocks noGrp="1"/>
          </p:cNvSpPr>
          <p:nvPr>
            <p:ph idx="27"/>
          </p:nvPr>
        </p:nvSpPr>
        <p:spPr bwMode="hidden">
          <a:xfrm>
            <a:off x="5475817" y="3728911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7" name="Espace réservé du contenu 2">
            <a:extLst>
              <a:ext uri="{FF2B5EF4-FFF2-40B4-BE49-F238E27FC236}">
                <a16:creationId xmlns:a16="http://schemas.microsoft.com/office/drawing/2014/main" id="{DA8D9092-1F4C-0F66-96D7-E2AE55503421}"/>
              </a:ext>
            </a:extLst>
          </p:cNvPr>
          <p:cNvSpPr>
            <a:spLocks noGrp="1"/>
          </p:cNvSpPr>
          <p:nvPr>
            <p:ph idx="28"/>
          </p:nvPr>
        </p:nvSpPr>
        <p:spPr bwMode="hidden">
          <a:xfrm>
            <a:off x="9205993" y="1380158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8" name="Espace réservé du contenu 2">
            <a:extLst>
              <a:ext uri="{FF2B5EF4-FFF2-40B4-BE49-F238E27FC236}">
                <a16:creationId xmlns:a16="http://schemas.microsoft.com/office/drawing/2014/main" id="{B6732FAD-E1E0-C2D5-4428-FCFF5091B33E}"/>
              </a:ext>
            </a:extLst>
          </p:cNvPr>
          <p:cNvSpPr>
            <a:spLocks noGrp="1"/>
          </p:cNvSpPr>
          <p:nvPr>
            <p:ph idx="29"/>
          </p:nvPr>
        </p:nvSpPr>
        <p:spPr bwMode="hidden">
          <a:xfrm>
            <a:off x="9205993" y="3728911"/>
            <a:ext cx="2153990" cy="1949155"/>
          </a:xfrm>
          <a:solidFill>
            <a:schemeClr val="bg1">
              <a:lumMod val="95000"/>
            </a:schemeClr>
          </a:solidFill>
        </p:spPr>
        <p:txBody>
          <a:bodyPr lIns="108000" tIns="216000" rIns="288000" bIns="18000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1" name="Espace réservé du texte 5">
            <a:extLst>
              <a:ext uri="{FF2B5EF4-FFF2-40B4-BE49-F238E27FC236}">
                <a16:creationId xmlns:a16="http://schemas.microsoft.com/office/drawing/2014/main" id="{DAA0CB1D-7F94-3E7D-572A-7C78C02E1A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53114" y="1380158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2" name="Espace réservé du texte 5">
            <a:extLst>
              <a:ext uri="{FF2B5EF4-FFF2-40B4-BE49-F238E27FC236}">
                <a16:creationId xmlns:a16="http://schemas.microsoft.com/office/drawing/2014/main" id="{3C143D52-0184-9209-263C-3D4E8DDB3E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353114" y="3728911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3" name="Espace réservé du texte 5">
            <a:extLst>
              <a:ext uri="{FF2B5EF4-FFF2-40B4-BE49-F238E27FC236}">
                <a16:creationId xmlns:a16="http://schemas.microsoft.com/office/drawing/2014/main" id="{4E84618D-4838-3302-48EA-A747CE4F42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3028" y="1380158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4" name="Espace réservé du texte 5">
            <a:extLst>
              <a:ext uri="{FF2B5EF4-FFF2-40B4-BE49-F238E27FC236}">
                <a16:creationId xmlns:a16="http://schemas.microsoft.com/office/drawing/2014/main" id="{988BC211-A91D-329A-BEB2-F2578ED31C0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83028" y="3728911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5" name="Espace réservé du texte 5">
            <a:extLst>
              <a:ext uri="{FF2B5EF4-FFF2-40B4-BE49-F238E27FC236}">
                <a16:creationId xmlns:a16="http://schemas.microsoft.com/office/drawing/2014/main" id="{D2BD364D-AE21-BD58-0D63-2A8A422726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719101" y="1380158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6" name="Espace réservé du texte 5">
            <a:extLst>
              <a:ext uri="{FF2B5EF4-FFF2-40B4-BE49-F238E27FC236}">
                <a16:creationId xmlns:a16="http://schemas.microsoft.com/office/drawing/2014/main" id="{5C60EAA7-350D-4E91-D91C-294FF26E862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719101" y="3728911"/>
            <a:ext cx="122965" cy="1949155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4756EE6-193D-ED42-F45A-B39284CCA67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04528" y="2632651"/>
            <a:ext cx="814573" cy="696661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775ACE80-4F00-50ED-8167-77281F952A1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475164" y="2632651"/>
            <a:ext cx="884615" cy="696661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39" name="Espace réservé du texte 10">
            <a:extLst>
              <a:ext uri="{FF2B5EF4-FFF2-40B4-BE49-F238E27FC236}">
                <a16:creationId xmlns:a16="http://schemas.microsoft.com/office/drawing/2014/main" id="{EF065907-37DE-7412-34B2-C7886342230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180696" y="2632651"/>
            <a:ext cx="909259" cy="696661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40" name="Espace réservé du texte 10">
            <a:extLst>
              <a:ext uri="{FF2B5EF4-FFF2-40B4-BE49-F238E27FC236}">
                <a16:creationId xmlns:a16="http://schemas.microsoft.com/office/drawing/2014/main" id="{429D6205-9727-03BB-D611-B6C83F0568B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4528" y="4946360"/>
            <a:ext cx="814573" cy="731705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41" name="Espace réservé du texte 10">
            <a:extLst>
              <a:ext uri="{FF2B5EF4-FFF2-40B4-BE49-F238E27FC236}">
                <a16:creationId xmlns:a16="http://schemas.microsoft.com/office/drawing/2014/main" id="{92A38702-FDA0-39BC-E55D-F907E37EFC8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75164" y="4946360"/>
            <a:ext cx="884615" cy="731705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5</a:t>
            </a:r>
          </a:p>
        </p:txBody>
      </p:sp>
      <p:sp>
        <p:nvSpPr>
          <p:cNvPr id="42" name="Espace réservé du texte 10">
            <a:extLst>
              <a:ext uri="{FF2B5EF4-FFF2-40B4-BE49-F238E27FC236}">
                <a16:creationId xmlns:a16="http://schemas.microsoft.com/office/drawing/2014/main" id="{A17F801E-9775-9830-C990-8240316236F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80696" y="4946360"/>
            <a:ext cx="909259" cy="731705"/>
          </a:xfrm>
        </p:spPr>
        <p:txBody>
          <a:bodyPr lIns="0" tIns="0" rIns="0" bIns="0"/>
          <a:lstStyle>
            <a:lvl1pPr marL="7938" indent="0" algn="ctr">
              <a:buNone/>
              <a:defRPr lang="fr-FR" sz="4800" b="1" i="0" kern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6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D740D08-5664-00EE-DF48-10A70DE51253}"/>
              </a:ext>
            </a:extLst>
          </p:cNvPr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08069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_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avec deux colonnes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AAA6029-81D1-4142-A20D-7511440A910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4756EE6-193D-ED42-F45A-B39284CCA67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2913" y="1694406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55E1AA9D-31E3-4396-3A87-C7A1A6B52B1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57486" y="1694406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1</a:t>
            </a:r>
          </a:p>
        </p:txBody>
      </p:sp>
      <p:sp>
        <p:nvSpPr>
          <p:cNvPr id="51" name="Espace réservé du texte 10">
            <a:extLst>
              <a:ext uri="{FF2B5EF4-FFF2-40B4-BE49-F238E27FC236}">
                <a16:creationId xmlns:a16="http://schemas.microsoft.com/office/drawing/2014/main" id="{90F2E51C-2D58-41C5-1441-4A4DBC0331E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42913" y="2405494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2</a:t>
            </a:r>
          </a:p>
        </p:txBody>
      </p:sp>
      <p:sp>
        <p:nvSpPr>
          <p:cNvPr id="52" name="Espace réservé du texte 5">
            <a:extLst>
              <a:ext uri="{FF2B5EF4-FFF2-40B4-BE49-F238E27FC236}">
                <a16:creationId xmlns:a16="http://schemas.microsoft.com/office/drawing/2014/main" id="{4D3A49A4-59CD-17CE-5018-8CA23453C71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257486" y="2405494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2</a:t>
            </a:r>
          </a:p>
        </p:txBody>
      </p:sp>
      <p:sp>
        <p:nvSpPr>
          <p:cNvPr id="53" name="Espace réservé du texte 10">
            <a:extLst>
              <a:ext uri="{FF2B5EF4-FFF2-40B4-BE49-F238E27FC236}">
                <a16:creationId xmlns:a16="http://schemas.microsoft.com/office/drawing/2014/main" id="{93DA2AA6-94F7-EE18-C37B-60E30A89D1A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42913" y="3116582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3</a:t>
            </a:r>
          </a:p>
        </p:txBody>
      </p:sp>
      <p:sp>
        <p:nvSpPr>
          <p:cNvPr id="54" name="Espace réservé du texte 5">
            <a:extLst>
              <a:ext uri="{FF2B5EF4-FFF2-40B4-BE49-F238E27FC236}">
                <a16:creationId xmlns:a16="http://schemas.microsoft.com/office/drawing/2014/main" id="{B18C4F51-F634-F2E1-9B31-3E130A1EC6C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257486" y="3116582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3</a:t>
            </a:r>
          </a:p>
        </p:txBody>
      </p:sp>
      <p:sp>
        <p:nvSpPr>
          <p:cNvPr id="55" name="Espace réservé du texte 10">
            <a:extLst>
              <a:ext uri="{FF2B5EF4-FFF2-40B4-BE49-F238E27FC236}">
                <a16:creationId xmlns:a16="http://schemas.microsoft.com/office/drawing/2014/main" id="{3F9EFBCB-8B9A-2A86-C285-9E86F498BC6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2913" y="3827670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4</a:t>
            </a:r>
          </a:p>
        </p:txBody>
      </p:sp>
      <p:sp>
        <p:nvSpPr>
          <p:cNvPr id="56" name="Espace réservé du texte 5">
            <a:extLst>
              <a:ext uri="{FF2B5EF4-FFF2-40B4-BE49-F238E27FC236}">
                <a16:creationId xmlns:a16="http://schemas.microsoft.com/office/drawing/2014/main" id="{AA5793D2-1EB1-CEEC-6BD3-09BE166B859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257486" y="3827670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4</a:t>
            </a:r>
          </a:p>
        </p:txBody>
      </p:sp>
      <p:sp>
        <p:nvSpPr>
          <p:cNvPr id="57" name="Espace réservé du texte 10">
            <a:extLst>
              <a:ext uri="{FF2B5EF4-FFF2-40B4-BE49-F238E27FC236}">
                <a16:creationId xmlns:a16="http://schemas.microsoft.com/office/drawing/2014/main" id="{667A36AE-E135-CC4A-258C-C8524DF89EB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2913" y="4538758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5</a:t>
            </a:r>
          </a:p>
        </p:txBody>
      </p:sp>
      <p:sp>
        <p:nvSpPr>
          <p:cNvPr id="58" name="Espace réservé du texte 5">
            <a:extLst>
              <a:ext uri="{FF2B5EF4-FFF2-40B4-BE49-F238E27FC236}">
                <a16:creationId xmlns:a16="http://schemas.microsoft.com/office/drawing/2014/main" id="{A3C3CB88-1FCE-2A0D-8213-2158667E9DA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57486" y="4538758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5</a:t>
            </a:r>
          </a:p>
        </p:txBody>
      </p:sp>
      <p:sp>
        <p:nvSpPr>
          <p:cNvPr id="59" name="Espace réservé du texte 10">
            <a:extLst>
              <a:ext uri="{FF2B5EF4-FFF2-40B4-BE49-F238E27FC236}">
                <a16:creationId xmlns:a16="http://schemas.microsoft.com/office/drawing/2014/main" id="{F846391E-5D29-9EED-55C3-BB40CE79998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2913" y="5249848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6</a:t>
            </a:r>
          </a:p>
        </p:txBody>
      </p:sp>
      <p:sp>
        <p:nvSpPr>
          <p:cNvPr id="60" name="Espace réservé du texte 5">
            <a:extLst>
              <a:ext uri="{FF2B5EF4-FFF2-40B4-BE49-F238E27FC236}">
                <a16:creationId xmlns:a16="http://schemas.microsoft.com/office/drawing/2014/main" id="{8CACD66A-2139-2D74-FD4F-B500C3B44E7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257486" y="5249848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6</a:t>
            </a:r>
          </a:p>
        </p:txBody>
      </p:sp>
      <p:sp>
        <p:nvSpPr>
          <p:cNvPr id="61" name="Espace réservé du texte 10">
            <a:extLst>
              <a:ext uri="{FF2B5EF4-FFF2-40B4-BE49-F238E27FC236}">
                <a16:creationId xmlns:a16="http://schemas.microsoft.com/office/drawing/2014/main" id="{E869DF23-319F-621A-7FA9-C00BD4FA6C0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091238" y="1694406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7</a:t>
            </a:r>
          </a:p>
        </p:txBody>
      </p:sp>
      <p:sp>
        <p:nvSpPr>
          <p:cNvPr id="62" name="Espace réservé du texte 5">
            <a:extLst>
              <a:ext uri="{FF2B5EF4-FFF2-40B4-BE49-F238E27FC236}">
                <a16:creationId xmlns:a16="http://schemas.microsoft.com/office/drawing/2014/main" id="{015024D0-F4ED-3DFE-EE45-75CA938ACB5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905811" y="1694406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7</a:t>
            </a:r>
          </a:p>
        </p:txBody>
      </p:sp>
      <p:sp>
        <p:nvSpPr>
          <p:cNvPr id="63" name="Espace réservé du texte 10">
            <a:extLst>
              <a:ext uri="{FF2B5EF4-FFF2-40B4-BE49-F238E27FC236}">
                <a16:creationId xmlns:a16="http://schemas.microsoft.com/office/drawing/2014/main" id="{D9764B39-2063-98B4-5CDD-0C2D3676B301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091238" y="2405494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8</a:t>
            </a:r>
          </a:p>
        </p:txBody>
      </p:sp>
      <p:sp>
        <p:nvSpPr>
          <p:cNvPr id="64" name="Espace réservé du texte 5">
            <a:extLst>
              <a:ext uri="{FF2B5EF4-FFF2-40B4-BE49-F238E27FC236}">
                <a16:creationId xmlns:a16="http://schemas.microsoft.com/office/drawing/2014/main" id="{7DAFC86A-CC96-759C-2FBC-42043E1A256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905811" y="2405494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8</a:t>
            </a:r>
          </a:p>
        </p:txBody>
      </p:sp>
      <p:sp>
        <p:nvSpPr>
          <p:cNvPr id="65" name="Espace réservé du texte 10">
            <a:extLst>
              <a:ext uri="{FF2B5EF4-FFF2-40B4-BE49-F238E27FC236}">
                <a16:creationId xmlns:a16="http://schemas.microsoft.com/office/drawing/2014/main" id="{E89A1848-8F53-7626-85F5-72C13DC1DD9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091238" y="3116582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9</a:t>
            </a:r>
          </a:p>
        </p:txBody>
      </p:sp>
      <p:sp>
        <p:nvSpPr>
          <p:cNvPr id="66" name="Espace réservé du texte 5">
            <a:extLst>
              <a:ext uri="{FF2B5EF4-FFF2-40B4-BE49-F238E27FC236}">
                <a16:creationId xmlns:a16="http://schemas.microsoft.com/office/drawing/2014/main" id="{4BF95726-DD0E-7A38-B898-138580C6E15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905811" y="3116582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9</a:t>
            </a:r>
          </a:p>
        </p:txBody>
      </p:sp>
      <p:sp>
        <p:nvSpPr>
          <p:cNvPr id="67" name="Espace réservé du texte 10">
            <a:extLst>
              <a:ext uri="{FF2B5EF4-FFF2-40B4-BE49-F238E27FC236}">
                <a16:creationId xmlns:a16="http://schemas.microsoft.com/office/drawing/2014/main" id="{C14D2393-8BF2-90B6-A8FF-87C27071A0B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091238" y="3827670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10</a:t>
            </a:r>
          </a:p>
        </p:txBody>
      </p:sp>
      <p:sp>
        <p:nvSpPr>
          <p:cNvPr id="68" name="Espace réservé du texte 5">
            <a:extLst>
              <a:ext uri="{FF2B5EF4-FFF2-40B4-BE49-F238E27FC236}">
                <a16:creationId xmlns:a16="http://schemas.microsoft.com/office/drawing/2014/main" id="{A1DEC824-28D0-A4DB-828E-DF29DBCD891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905811" y="3827670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10</a:t>
            </a:r>
          </a:p>
        </p:txBody>
      </p:sp>
      <p:sp>
        <p:nvSpPr>
          <p:cNvPr id="69" name="Espace réservé du texte 10">
            <a:extLst>
              <a:ext uri="{FF2B5EF4-FFF2-40B4-BE49-F238E27FC236}">
                <a16:creationId xmlns:a16="http://schemas.microsoft.com/office/drawing/2014/main" id="{C7535B14-34D8-3B7A-EB51-BCA4410F55F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091238" y="4538758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11</a:t>
            </a:r>
          </a:p>
        </p:txBody>
      </p:sp>
      <p:sp>
        <p:nvSpPr>
          <p:cNvPr id="70" name="Espace réservé du texte 5">
            <a:extLst>
              <a:ext uri="{FF2B5EF4-FFF2-40B4-BE49-F238E27FC236}">
                <a16:creationId xmlns:a16="http://schemas.microsoft.com/office/drawing/2014/main" id="{C0595C9A-64CA-71A1-84D6-5658C8A8E98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905811" y="4538758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11</a:t>
            </a:r>
          </a:p>
        </p:txBody>
      </p:sp>
      <p:sp>
        <p:nvSpPr>
          <p:cNvPr id="71" name="Espace réservé du texte 10">
            <a:extLst>
              <a:ext uri="{FF2B5EF4-FFF2-40B4-BE49-F238E27FC236}">
                <a16:creationId xmlns:a16="http://schemas.microsoft.com/office/drawing/2014/main" id="{AFEDE8CC-EC28-0D54-14C6-F7A57F87CF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6091238" y="5249848"/>
            <a:ext cx="814573" cy="696661"/>
          </a:xfrm>
        </p:spPr>
        <p:txBody>
          <a:bodyPr lIns="0" tIns="0" rIns="0" bIns="72000" anchor="b" anchorCtr="0"/>
          <a:lstStyle>
            <a:lvl1pPr marL="7938" indent="0" algn="ctr">
              <a:buNone/>
              <a:defRPr lang="fr-FR" sz="3600" b="1" i="0" kern="1200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12</a:t>
            </a:r>
          </a:p>
        </p:txBody>
      </p:sp>
      <p:sp>
        <p:nvSpPr>
          <p:cNvPr id="72" name="Espace réservé du texte 5">
            <a:extLst>
              <a:ext uri="{FF2B5EF4-FFF2-40B4-BE49-F238E27FC236}">
                <a16:creationId xmlns:a16="http://schemas.microsoft.com/office/drawing/2014/main" id="{FFD6F717-46B8-32F1-D899-9FA62975FF4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905811" y="5249848"/>
            <a:ext cx="4424177" cy="696661"/>
          </a:xfrm>
        </p:spPr>
        <p:txBody>
          <a:bodyPr tIns="144000" bIns="144000" anchor="b" anchorCtr="0"/>
          <a:lstStyle>
            <a:lvl1pPr marL="7938" indent="0">
              <a:spcBef>
                <a:spcPts val="0"/>
              </a:spcBef>
              <a:spcAft>
                <a:spcPts val="0"/>
              </a:spcAft>
              <a:buNone/>
              <a:defRPr/>
            </a:lvl1pPr>
          </a:lstStyle>
          <a:p>
            <a:pPr lvl="0"/>
            <a:r>
              <a:rPr lang="fr-FR"/>
              <a:t>Titre du chapitre 12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B05387E-A5C7-8DFF-308A-E7F4AE47A8F4}"/>
              </a:ext>
            </a:extLst>
          </p:cNvPr>
          <p:cNvSpPr>
            <a:spLocks noGrp="1"/>
          </p:cNvSpPr>
          <p:nvPr>
            <p:ph type="ftr" sz="quarter" idx="6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92780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11D85D41-10DA-FB45-ABAC-34DD316940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4553526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734B8FDA-B502-E04C-B2D8-EB21F472EC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0" y="4247661"/>
            <a:ext cx="5662613" cy="533885"/>
          </a:xfrm>
          <a:noFill/>
        </p:spPr>
        <p:txBody>
          <a:bodyPr lIns="0"/>
          <a:lstStyle>
            <a:lvl2pPr>
              <a:defRPr>
                <a:solidFill>
                  <a:schemeClr val="tx1"/>
                </a:solidFill>
                <a:effectLst/>
              </a:defRPr>
            </a:lvl2pPr>
          </a:lstStyle>
          <a:p>
            <a:pPr lvl="1"/>
            <a:r>
              <a:rPr lang="fr-FR"/>
              <a:t>Troisième niveau</a:t>
            </a:r>
          </a:p>
        </p:txBody>
      </p:sp>
      <p:sp>
        <p:nvSpPr>
          <p:cNvPr id="19" name="Titre 7">
            <a:extLst>
              <a:ext uri="{FF2B5EF4-FFF2-40B4-BE49-F238E27FC236}">
                <a16:creationId xmlns:a16="http://schemas.microsoft.com/office/drawing/2014/main" id="{BFB1F148-46D4-EE4C-8852-745A7806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576" y="1490660"/>
            <a:ext cx="5634037" cy="2571264"/>
          </a:xfrm>
        </p:spPr>
        <p:txBody>
          <a:bodyPr/>
          <a:lstStyle>
            <a:lvl1pPr>
              <a:defRPr sz="6600">
                <a:solidFill>
                  <a:schemeClr val="accent1"/>
                </a:solidFill>
                <a:effectLst/>
              </a:defRPr>
            </a:lvl1pPr>
          </a:lstStyle>
          <a:p>
            <a:r>
              <a:rPr lang="fr-FR"/>
              <a:t>Modifiez </a:t>
            </a:r>
            <a:br>
              <a:rPr lang="fr-FR"/>
            </a:br>
            <a:r>
              <a:rPr lang="fr-FR"/>
              <a:t>le style </a:t>
            </a:r>
            <a:br>
              <a:rPr lang="fr-FR"/>
            </a:br>
            <a:r>
              <a:rPr lang="fr-FR"/>
              <a:t>du titre</a:t>
            </a:r>
            <a:endParaRPr lang="en-GB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4E9C0E7-B051-684B-9CA9-F34A76BDE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FE797DE8-96B6-E24C-8B6E-9DAD02668BAE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4614866" y="0"/>
            <a:ext cx="0" cy="6858000"/>
          </a:xfrm>
          <a:prstGeom prst="line">
            <a:avLst/>
          </a:prstGeom>
          <a:ln w="12700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10">
            <a:extLst>
              <a:ext uri="{FF2B5EF4-FFF2-40B4-BE49-F238E27FC236}">
                <a16:creationId xmlns:a16="http://schemas.microsoft.com/office/drawing/2014/main" id="{B872D7F0-30D5-52F5-B945-B63B26E85A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0" y="5216236"/>
            <a:ext cx="4553527" cy="1641764"/>
          </a:xfrm>
        </p:spPr>
        <p:txBody>
          <a:bodyPr lIns="0" tIns="0" rIns="0" bIns="0" anchor="b"/>
          <a:lstStyle>
            <a:lvl1pPr marL="7938" indent="0" algn="ctr">
              <a:buNone/>
              <a:defRPr lang="fr-FR" sz="23900" b="1" i="0" kern="1200" dirty="0">
                <a:solidFill>
                  <a:schemeClr val="bg1"/>
                </a:solidFill>
                <a:effectLst>
                  <a:outerShdw blurRad="342900" dist="38100" dir="2700000" algn="tl" rotWithShape="0">
                    <a:prstClr val="black">
                      <a:alpha val="33000"/>
                    </a:prstClr>
                  </a:outerShdw>
                </a:effectLst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34373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D2EC2A-FF51-42C1-9771-F518DE2EED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54B4C2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0DA0EA6-7173-4957-A20E-212B66FF9C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Unter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4272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contenu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CC1E864-3B00-A34E-9F2E-68E5A2D4F6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8125963F-238A-7242-A573-638EA1D951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3863" y="1885950"/>
            <a:ext cx="5450432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70AD5568-BEB6-424D-8E47-62E677179A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11354" y="1885950"/>
            <a:ext cx="5450432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AC2ADCE7-6AA4-1B18-6D9A-2D81FC77F0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28401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e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contenu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2C980F8-9E57-244D-861F-DBDB6AE5F0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0" name="Espace réservé du texte 6">
            <a:extLst>
              <a:ext uri="{FF2B5EF4-FFF2-40B4-BE49-F238E27FC236}">
                <a16:creationId xmlns:a16="http://schemas.microsoft.com/office/drawing/2014/main" id="{F822BAF3-82DD-A741-9DB0-4C44B44E17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3863" y="1885950"/>
            <a:ext cx="3461484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6" name="Espace réservé du texte 6">
            <a:extLst>
              <a:ext uri="{FF2B5EF4-FFF2-40B4-BE49-F238E27FC236}">
                <a16:creationId xmlns:a16="http://schemas.microsoft.com/office/drawing/2014/main" id="{1ED202E3-6998-2944-966E-3B6DEE09EBF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65258" y="1885950"/>
            <a:ext cx="3461484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CFD27A99-6915-8B48-85F5-0E7C4682BC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06653" y="1885950"/>
            <a:ext cx="3461484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8" name="Espace réservé du pied de page 2">
            <a:extLst>
              <a:ext uri="{FF2B5EF4-FFF2-40B4-BE49-F238E27FC236}">
                <a16:creationId xmlns:a16="http://schemas.microsoft.com/office/drawing/2014/main" id="{3F940408-FFFD-0454-2D15-5A179CDF68A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7261" y="6240762"/>
            <a:ext cx="7410450" cy="226714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3261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0260240E-2BE6-AB4F-BF00-29F1B5755AD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33389"/>
            <a:ext cx="5662613" cy="5180012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2679DB2-9E2F-4F47-BBCE-86CA30AFB9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0" name="Espace réservé du texte 6">
            <a:extLst>
              <a:ext uri="{FF2B5EF4-FFF2-40B4-BE49-F238E27FC236}">
                <a16:creationId xmlns:a16="http://schemas.microsoft.com/office/drawing/2014/main" id="{1430A3F4-C8A2-6E41-A70F-20E18B5196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3863" y="1885950"/>
            <a:ext cx="5198934" cy="4100513"/>
          </a:xfrm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D91B65B-3243-E1FA-EB2E-300A04E30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6CC827A5-65A8-6F71-7526-9EB0A1FCC9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21657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3 colonnes +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41E2D92A-100F-2D4E-85A9-978E2861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44" y="390524"/>
            <a:ext cx="11001244" cy="54702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2EB45E7-60C2-6B42-A045-1203E2786B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id="{02782019-9F20-3D4A-87DA-7CB5FAFF0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0076" y="2395960"/>
            <a:ext cx="5356161" cy="3373016"/>
          </a:xfrm>
          <a:solidFill>
            <a:schemeClr val="bg1">
              <a:lumMod val="95000"/>
            </a:schemeClr>
          </a:solidFill>
        </p:spPr>
        <p:txBody>
          <a:bodyPr lIns="36000" tIns="180000" rIns="216000"/>
          <a:lstStyle>
            <a:lvl1pPr>
              <a:defRPr sz="1000"/>
            </a:lvl1pPr>
            <a:lvl2pPr>
              <a:defRPr sz="160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0">
            <a:extLst>
              <a:ext uri="{FF2B5EF4-FFF2-40B4-BE49-F238E27FC236}">
                <a16:creationId xmlns:a16="http://schemas.microsoft.com/office/drawing/2014/main" id="{2A39CC78-3065-6A5A-4FAB-D53F16FEB31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65052" y="1282700"/>
            <a:ext cx="5376195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9" name="Espace réservé du texte 6">
            <a:extLst>
              <a:ext uri="{FF2B5EF4-FFF2-40B4-BE49-F238E27FC236}">
                <a16:creationId xmlns:a16="http://schemas.microsoft.com/office/drawing/2014/main" id="{123FAADD-AF12-688E-1FDA-7B0995E2CE6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392142" y="2395960"/>
            <a:ext cx="5356161" cy="3373016"/>
          </a:xfrm>
          <a:solidFill>
            <a:schemeClr val="bg1">
              <a:lumMod val="95000"/>
            </a:schemeClr>
          </a:solidFill>
        </p:spPr>
        <p:txBody>
          <a:bodyPr lIns="36000" tIns="180000" rIns="216000"/>
          <a:lstStyle>
            <a:lvl1pPr>
              <a:defRPr sz="1000"/>
            </a:lvl1pPr>
            <a:lvl2pPr>
              <a:defRPr sz="160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4" name="Espace réservé pour une image  10">
            <a:extLst>
              <a:ext uri="{FF2B5EF4-FFF2-40B4-BE49-F238E27FC236}">
                <a16:creationId xmlns:a16="http://schemas.microsoft.com/office/drawing/2014/main" id="{336DDA54-B13D-AAB4-55F6-3E56A03B5F8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387118" y="1282700"/>
            <a:ext cx="5376195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Espace réservé du texte 5">
            <a:extLst>
              <a:ext uri="{FF2B5EF4-FFF2-40B4-BE49-F238E27FC236}">
                <a16:creationId xmlns:a16="http://schemas.microsoft.com/office/drawing/2014/main" id="{FFE1D3D2-74E9-77A3-AEAD-F66F8B97BC2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2159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553FBE05-2FC9-8C00-934B-0B3D9A0ACF6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267248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pied de page 1">
            <a:extLst>
              <a:ext uri="{FF2B5EF4-FFF2-40B4-BE49-F238E27FC236}">
                <a16:creationId xmlns:a16="http://schemas.microsoft.com/office/drawing/2014/main" id="{C297307E-9522-27F5-0657-E18F9C808881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>
          <a:xfrm>
            <a:off x="767261" y="6240762"/>
            <a:ext cx="7410450" cy="226714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1604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lonnes +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D3910C6A-C175-474F-ACF5-38F216BD8B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5053" y="1648250"/>
            <a:ext cx="3332684" cy="17005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41E2D92A-100F-2D4E-85A9-978E28618B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Modifiez le style </a:t>
            </a:r>
            <a:br>
              <a:rPr lang="fr-FR"/>
            </a:br>
            <a:r>
              <a:rPr lang="fr-FR"/>
              <a:t>du titre</a:t>
            </a:r>
            <a:endParaRPr lang="en-GB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2EB45E7-60C2-6B42-A045-1203E2786B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id="{02782019-9F20-3D4A-87DA-7CB5FAFF0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hidden">
          <a:xfrm>
            <a:off x="570077" y="3340100"/>
            <a:ext cx="3327659" cy="2399919"/>
          </a:xfrm>
          <a:solidFill>
            <a:schemeClr val="bg1">
              <a:lumMod val="95000"/>
            </a:schemeClr>
          </a:solidFill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6" name="Espace réservé pour une image  10">
            <a:extLst>
              <a:ext uri="{FF2B5EF4-FFF2-40B4-BE49-F238E27FC236}">
                <a16:creationId xmlns:a16="http://schemas.microsoft.com/office/drawing/2014/main" id="{884C64C8-6B91-E201-2698-ABF0642DF85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500684" y="1648250"/>
            <a:ext cx="3332684" cy="17005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FD0F7F35-FE75-5C7D-32B9-43227A974E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hidden">
          <a:xfrm>
            <a:off x="4498172" y="3340100"/>
            <a:ext cx="3335195" cy="2399919"/>
          </a:xfrm>
          <a:solidFill>
            <a:schemeClr val="bg1">
              <a:lumMod val="95000"/>
            </a:schemeClr>
          </a:solidFill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21" name="Espace réservé pour une image  10">
            <a:extLst>
              <a:ext uri="{FF2B5EF4-FFF2-40B4-BE49-F238E27FC236}">
                <a16:creationId xmlns:a16="http://schemas.microsoft.com/office/drawing/2014/main" id="{FAD7FECA-C5A6-01C0-E578-9A54C36196E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28892" y="1648250"/>
            <a:ext cx="3332684" cy="17005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4" name="Espace réservé du texte 6">
            <a:extLst>
              <a:ext uri="{FF2B5EF4-FFF2-40B4-BE49-F238E27FC236}">
                <a16:creationId xmlns:a16="http://schemas.microsoft.com/office/drawing/2014/main" id="{4EAA41D2-D78A-8029-00FC-CE46CC23AFB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hidden">
          <a:xfrm>
            <a:off x="8428892" y="3340100"/>
            <a:ext cx="3332683" cy="2399919"/>
          </a:xfrm>
          <a:solidFill>
            <a:schemeClr val="bg1">
              <a:lumMod val="95000"/>
            </a:schemeClr>
          </a:solidFill>
        </p:spPr>
        <p:txBody>
          <a:bodyPr lIns="251999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DC6CA111-98EA-3E1A-5E8B-CD22F208FB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4600" y="1648250"/>
            <a:ext cx="122965" cy="4091769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texte 5">
            <a:extLst>
              <a:ext uri="{FF2B5EF4-FFF2-40B4-BE49-F238E27FC236}">
                <a16:creationId xmlns:a16="http://schemas.microsoft.com/office/drawing/2014/main" id="{E86A775E-65E3-D263-C6CC-AADD2788BB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78645" y="1648250"/>
            <a:ext cx="122965" cy="4091769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F53D5CD0-3050-C023-641D-97C92B6057C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06319" y="1648250"/>
            <a:ext cx="122965" cy="4091769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pied de page 1">
            <a:extLst>
              <a:ext uri="{FF2B5EF4-FFF2-40B4-BE49-F238E27FC236}">
                <a16:creationId xmlns:a16="http://schemas.microsoft.com/office/drawing/2014/main" id="{740DE142-4CAE-DB3C-8EB6-83023CAEBC70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>
          <a:xfrm>
            <a:off x="767261" y="6240762"/>
            <a:ext cx="7410450" cy="226714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95984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3 colonnes +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3">
            <a:extLst>
              <a:ext uri="{FF2B5EF4-FFF2-40B4-BE49-F238E27FC236}">
                <a16:creationId xmlns:a16="http://schemas.microsoft.com/office/drawing/2014/main" id="{41E2D92A-100F-2D4E-85A9-978E2861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44" y="390524"/>
            <a:ext cx="11001244" cy="54702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2EB45E7-60C2-6B42-A045-1203E2786B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id="{02782019-9F20-3D4A-87DA-7CB5FAFF0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7631" y="2395959"/>
            <a:ext cx="3340106" cy="4028653"/>
          </a:xfrm>
          <a:solidFill>
            <a:schemeClr val="bg1">
              <a:lumMod val="95000"/>
            </a:schemeClr>
          </a:solidFill>
        </p:spPr>
        <p:txBody>
          <a:bodyPr lIns="36000" tIns="180000" rIns="216000"/>
          <a:lstStyle>
            <a:lvl1pPr>
              <a:defRPr sz="1000"/>
            </a:lvl1pPr>
            <a:lvl2pPr>
              <a:defRPr sz="160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0">
            <a:extLst>
              <a:ext uri="{FF2B5EF4-FFF2-40B4-BE49-F238E27FC236}">
                <a16:creationId xmlns:a16="http://schemas.microsoft.com/office/drawing/2014/main" id="{2A39CC78-3065-6A5A-4FAB-D53F16FEB31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65053" y="1282700"/>
            <a:ext cx="3332684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0" name="Espace réservé du texte 6">
            <a:extLst>
              <a:ext uri="{FF2B5EF4-FFF2-40B4-BE49-F238E27FC236}">
                <a16:creationId xmlns:a16="http://schemas.microsoft.com/office/drawing/2014/main" id="{2AFFE071-7561-13ED-45F6-B4E7C44BA61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05469" y="2395959"/>
            <a:ext cx="3327659" cy="4028653"/>
          </a:xfrm>
          <a:solidFill>
            <a:schemeClr val="bg1">
              <a:lumMod val="95000"/>
            </a:schemeClr>
          </a:solidFill>
        </p:spPr>
        <p:txBody>
          <a:bodyPr lIns="36000" tIns="180000" rIns="216000"/>
          <a:lstStyle>
            <a:lvl1pPr>
              <a:defRPr sz="1000"/>
            </a:lvl1pPr>
            <a:lvl2pPr>
              <a:defRPr sz="160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1" name="Espace réservé pour une image  10">
            <a:extLst>
              <a:ext uri="{FF2B5EF4-FFF2-40B4-BE49-F238E27FC236}">
                <a16:creationId xmlns:a16="http://schemas.microsoft.com/office/drawing/2014/main" id="{043731A8-5732-67CC-7123-96BEE85AD2C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500445" y="1282700"/>
            <a:ext cx="3340106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6" name="Espace réservé du texte 6">
            <a:extLst>
              <a:ext uri="{FF2B5EF4-FFF2-40B4-BE49-F238E27FC236}">
                <a16:creationId xmlns:a16="http://schemas.microsoft.com/office/drawing/2014/main" id="{07AABA75-498D-384B-5E18-2B4B1ACC6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429286" y="2395960"/>
            <a:ext cx="3327659" cy="3349204"/>
          </a:xfrm>
          <a:solidFill>
            <a:schemeClr val="bg1">
              <a:lumMod val="95000"/>
            </a:schemeClr>
          </a:solidFill>
        </p:spPr>
        <p:txBody>
          <a:bodyPr lIns="36000" tIns="180000" rIns="216000"/>
          <a:lstStyle>
            <a:lvl1pPr>
              <a:defRPr sz="1000"/>
            </a:lvl1pPr>
            <a:lvl2pPr>
              <a:defRPr sz="1600"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7" name="Espace réservé pour une image  10">
            <a:extLst>
              <a:ext uri="{FF2B5EF4-FFF2-40B4-BE49-F238E27FC236}">
                <a16:creationId xmlns:a16="http://schemas.microsoft.com/office/drawing/2014/main" id="{17A689E3-9E68-9205-C9D2-4570E3BC501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424262" y="1282700"/>
            <a:ext cx="3340106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EC1BC8ED-6148-C7C2-6A26-9721B9E6B7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4519" y="1282700"/>
            <a:ext cx="122965" cy="5141912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6" name="Espace réservé du texte 5">
            <a:extLst>
              <a:ext uri="{FF2B5EF4-FFF2-40B4-BE49-F238E27FC236}">
                <a16:creationId xmlns:a16="http://schemas.microsoft.com/office/drawing/2014/main" id="{7ABF2054-6337-3D39-FB03-D265ABBC43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82504" y="1282700"/>
            <a:ext cx="122965" cy="5141912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29074A04-0311-8C4D-2DAD-8882C13DC25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08926" y="1282700"/>
            <a:ext cx="122965" cy="4462464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pied de page 1">
            <a:extLst>
              <a:ext uri="{FF2B5EF4-FFF2-40B4-BE49-F238E27FC236}">
                <a16:creationId xmlns:a16="http://schemas.microsoft.com/office/drawing/2014/main" id="{00EEE41C-4B32-127C-0DB7-3CA5785DF026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>
          <a:xfrm>
            <a:off x="767261" y="6240762"/>
            <a:ext cx="7410450" cy="226714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47832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lonnes +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D3910C6A-C175-474F-ACF5-38F216BD8BF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5053" y="1282700"/>
            <a:ext cx="2489391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Titre 13">
            <a:extLst>
              <a:ext uri="{FF2B5EF4-FFF2-40B4-BE49-F238E27FC236}">
                <a16:creationId xmlns:a16="http://schemas.microsoft.com/office/drawing/2014/main" id="{41E2D92A-100F-2D4E-85A9-978E2861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44" y="390524"/>
            <a:ext cx="11001244" cy="68383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52EB45E7-60C2-6B42-A045-1203E2786B8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19" name="Espace réservé du texte 6">
            <a:extLst>
              <a:ext uri="{FF2B5EF4-FFF2-40B4-BE49-F238E27FC236}">
                <a16:creationId xmlns:a16="http://schemas.microsoft.com/office/drawing/2014/main" id="{02782019-9F20-3D4A-87DA-7CB5FAFF04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0078" y="2395959"/>
            <a:ext cx="2485638" cy="3373017"/>
          </a:xfrm>
          <a:solidFill>
            <a:schemeClr val="bg1">
              <a:lumMod val="95000"/>
            </a:schemeClr>
          </a:solidFill>
        </p:spPr>
        <p:txBody>
          <a:bodyPr lIns="36000" tIns="180000" rIns="180000" bIns="0"/>
          <a:lstStyle>
            <a:lvl1pPr>
              <a:defRPr sz="120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Espace réservé pour une image  10">
            <a:extLst>
              <a:ext uri="{FF2B5EF4-FFF2-40B4-BE49-F238E27FC236}">
                <a16:creationId xmlns:a16="http://schemas.microsoft.com/office/drawing/2014/main" id="{6EBCA640-3F48-0A1F-0AE4-2D03A58E0C2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458724" y="1282700"/>
            <a:ext cx="2489391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7B4E0185-E7FF-B11E-E685-941F0627415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63749" y="2395959"/>
            <a:ext cx="2485638" cy="3373017"/>
          </a:xfrm>
          <a:solidFill>
            <a:schemeClr val="bg1">
              <a:lumMod val="95000"/>
            </a:schemeClr>
          </a:solidFill>
        </p:spPr>
        <p:txBody>
          <a:bodyPr lIns="36000" tIns="180000" rIns="180000" bIns="0"/>
          <a:lstStyle>
            <a:lvl1pPr>
              <a:defRPr sz="120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0" name="Espace réservé pour une image  10">
            <a:extLst>
              <a:ext uri="{FF2B5EF4-FFF2-40B4-BE49-F238E27FC236}">
                <a16:creationId xmlns:a16="http://schemas.microsoft.com/office/drawing/2014/main" id="{A2D1CCC3-CFB1-88B4-C750-2B508A561E5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63970" y="1282700"/>
            <a:ext cx="2489391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1" name="Espace réservé du texte 6">
            <a:extLst>
              <a:ext uri="{FF2B5EF4-FFF2-40B4-BE49-F238E27FC236}">
                <a16:creationId xmlns:a16="http://schemas.microsoft.com/office/drawing/2014/main" id="{EF825C4A-77E0-B814-4664-B9FF958A6D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368995" y="2395959"/>
            <a:ext cx="2485638" cy="3373017"/>
          </a:xfrm>
          <a:solidFill>
            <a:schemeClr val="bg1">
              <a:lumMod val="95000"/>
            </a:schemeClr>
          </a:solidFill>
        </p:spPr>
        <p:txBody>
          <a:bodyPr lIns="36000" tIns="180000" rIns="180000" bIns="0"/>
          <a:lstStyle>
            <a:lvl1pPr>
              <a:defRPr sz="120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3" name="Espace réservé pour une image  10">
            <a:extLst>
              <a:ext uri="{FF2B5EF4-FFF2-40B4-BE49-F238E27FC236}">
                <a16:creationId xmlns:a16="http://schemas.microsoft.com/office/drawing/2014/main" id="{1AC7CDE8-D98E-C218-9D81-AAD0C8FA7018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257640" y="1282700"/>
            <a:ext cx="2489391" cy="1113259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5CA92280-2CF8-3134-F62C-395117A20D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262665" y="2395959"/>
            <a:ext cx="2485638" cy="3373017"/>
          </a:xfrm>
          <a:solidFill>
            <a:schemeClr val="bg1">
              <a:lumMod val="95000"/>
            </a:schemeClr>
          </a:solidFill>
        </p:spPr>
        <p:txBody>
          <a:bodyPr lIns="36000" tIns="180000" rIns="180000" bIns="0"/>
          <a:lstStyle>
            <a:lvl1pPr>
              <a:defRPr sz="120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Espace réservé du texte 5">
            <a:extLst>
              <a:ext uri="{FF2B5EF4-FFF2-40B4-BE49-F238E27FC236}">
                <a16:creationId xmlns:a16="http://schemas.microsoft.com/office/drawing/2014/main" id="{2B133343-029D-5ECB-E35E-29088CAB2C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2159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texte 5">
            <a:extLst>
              <a:ext uri="{FF2B5EF4-FFF2-40B4-BE49-F238E27FC236}">
                <a16:creationId xmlns:a16="http://schemas.microsoft.com/office/drawing/2014/main" id="{8EBDA1B4-3AE7-B35D-75EA-1EF7A9FA79E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46062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5">
            <a:extLst>
              <a:ext uri="{FF2B5EF4-FFF2-40B4-BE49-F238E27FC236}">
                <a16:creationId xmlns:a16="http://schemas.microsoft.com/office/drawing/2014/main" id="{6AB4DD37-6D65-AA17-3B93-492F62E9C84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246448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5">
            <a:extLst>
              <a:ext uri="{FF2B5EF4-FFF2-40B4-BE49-F238E27FC236}">
                <a16:creationId xmlns:a16="http://schemas.microsoft.com/office/drawing/2014/main" id="{01428233-6320-E48A-CA0D-624058848E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132162" y="1282700"/>
            <a:ext cx="122965" cy="4486276"/>
          </a:xfr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8" name="Espace réservé du pied de page 1">
            <a:extLst>
              <a:ext uri="{FF2B5EF4-FFF2-40B4-BE49-F238E27FC236}">
                <a16:creationId xmlns:a16="http://schemas.microsoft.com/office/drawing/2014/main" id="{E427EF27-4B08-74BE-26E1-29A4DFB32B39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>
          <a:xfrm>
            <a:off x="767261" y="6240762"/>
            <a:ext cx="7410450" cy="226714"/>
          </a:xfr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07537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iffres clefs_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3A71E50-7051-8F4E-8A11-7C86ECD4BD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Titre de la slide contenu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789C344-C2D8-6F42-89CD-9D7CBD0BC1C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22016" y="1828798"/>
            <a:ext cx="2280372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id="{E1B5B3EC-6938-5142-BB75-F9F0124345E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5815" y="1800222"/>
            <a:ext cx="2264846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B4DC9B8F-6BCC-5645-8DD4-E4CAF12F74F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9049616" y="1828798"/>
            <a:ext cx="2280372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contenu 2">
            <a:extLst>
              <a:ext uri="{FF2B5EF4-FFF2-40B4-BE49-F238E27FC236}">
                <a16:creationId xmlns:a16="http://schemas.microsoft.com/office/drawing/2014/main" id="{1BD3C687-D612-5645-BAC7-B4316FDE3F11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1722016" y="4068416"/>
            <a:ext cx="2280372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90D37FB2-ACD7-CF45-96E7-68FCC91C6840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5385815" y="4039840"/>
            <a:ext cx="2264846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E29183DB-056C-8641-9FD0-CC55719D8EB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9049616" y="4068416"/>
            <a:ext cx="2280372" cy="1881811"/>
          </a:xfrm>
        </p:spPr>
        <p:txBody>
          <a:bodyPr rIns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D3F1D58-9D83-C044-A5A0-21276013F1C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5B4A2616-67FD-244D-A9A6-1B1EB77FB7D4}" type="slidenum">
              <a:rPr lang="fr-FR" smtClean="0"/>
              <a:pPr/>
              <a:t>‹#›</a:t>
            </a:fld>
            <a:r>
              <a:rPr lang="fr-FR"/>
              <a:t> 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17A6D4A-3688-A41E-675D-8F96BE0091F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04658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mise en avan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B99ED4BD-90E8-ADB5-917D-0215255266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" y="0"/>
            <a:ext cx="12191998" cy="6860382"/>
          </a:xfrm>
          <a:custGeom>
            <a:avLst/>
            <a:gdLst>
              <a:gd name="connsiteX0" fmla="*/ 0 w 12191998"/>
              <a:gd name="connsiteY0" fmla="*/ 0 h 6860382"/>
              <a:gd name="connsiteX1" fmla="*/ 12191998 w 12191998"/>
              <a:gd name="connsiteY1" fmla="*/ 0 h 6860382"/>
              <a:gd name="connsiteX2" fmla="*/ 12191998 w 12191998"/>
              <a:gd name="connsiteY2" fmla="*/ 6860382 h 6860382"/>
              <a:gd name="connsiteX3" fmla="*/ 0 w 12191998"/>
              <a:gd name="connsiteY3" fmla="*/ 6860382 h 686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6860382">
                <a:moveTo>
                  <a:pt x="0" y="0"/>
                </a:moveTo>
                <a:lnTo>
                  <a:pt x="12191998" y="0"/>
                </a:lnTo>
                <a:lnTo>
                  <a:pt x="12191998" y="6860382"/>
                </a:lnTo>
                <a:lnTo>
                  <a:pt x="0" y="6860382"/>
                </a:lnTo>
                <a:close/>
              </a:path>
            </a:pathLst>
          </a:custGeom>
          <a:gradFill flip="none" rotWithShape="1">
            <a:gsLst>
              <a:gs pos="90000">
                <a:schemeClr val="tx1">
                  <a:lumMod val="50000"/>
                  <a:alpha val="55000"/>
                </a:schemeClr>
              </a:gs>
              <a:gs pos="0">
                <a:schemeClr val="tx1">
                  <a:lumMod val="50000"/>
                  <a:alpha val="15000"/>
                </a:schemeClr>
              </a:gs>
            </a:gsLst>
            <a:lin ang="8100000" scaled="1"/>
            <a:tileRect/>
          </a:gradFill>
          <a:ln>
            <a:noFill/>
          </a:ln>
        </p:spPr>
        <p:txBody>
          <a:bodyPr vert="horz" lIns="251999" tIns="251999" rIns="251999" bIns="251999" rtlCol="0">
            <a:no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  </a:t>
            </a:r>
          </a:p>
        </p:txBody>
      </p:sp>
      <p:sp>
        <p:nvSpPr>
          <p:cNvPr id="19" name="Titre 7">
            <a:extLst>
              <a:ext uri="{FF2B5EF4-FFF2-40B4-BE49-F238E27FC236}">
                <a16:creationId xmlns:a16="http://schemas.microsoft.com/office/drawing/2014/main" id="{BFB1F148-46D4-EE4C-8852-745A7806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5088" y="1847848"/>
            <a:ext cx="9153400" cy="2571264"/>
          </a:xfrm>
        </p:spPr>
        <p:txBody>
          <a:bodyPr/>
          <a:lstStyle>
            <a:lvl1pPr>
              <a:defRPr sz="6600">
                <a:solidFill>
                  <a:schemeClr val="bg1"/>
                </a:solidFill>
                <a:effectLst>
                  <a:outerShdw blurRad="746001" sx="102000" sy="102000" algn="ctr" rotWithShape="0">
                    <a:prstClr val="black"/>
                  </a:outerShdw>
                </a:effectLst>
              </a:defRPr>
            </a:lvl1pPr>
          </a:lstStyle>
          <a:p>
            <a:r>
              <a:rPr lang="fr-FR"/>
              <a:t>Modifiez </a:t>
            </a:r>
            <a:br>
              <a:rPr lang="fr-FR"/>
            </a:br>
            <a:r>
              <a:rPr lang="fr-FR"/>
              <a:t>le style </a:t>
            </a:r>
            <a:br>
              <a:rPr lang="fr-FR"/>
            </a:br>
            <a:r>
              <a:rPr lang="fr-FR"/>
              <a:t>du titre</a:t>
            </a:r>
            <a:endParaRPr lang="en-GB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11D85D41-10DA-FB45-ABAC-34DD316940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-1" y="0"/>
            <a:ext cx="12191999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FBFD7C3-4BB6-3F42-CB8C-2D6F106E9A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-2382"/>
            <a:ext cx="979713" cy="871537"/>
          </a:xfrm>
          <a:prstGeom prst="halfFrame">
            <a:avLst>
              <a:gd name="adj1" fmla="val 19085"/>
              <a:gd name="adj2" fmla="val 17789"/>
            </a:avLst>
          </a:prstGeo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   </a:t>
            </a:r>
            <a:endParaRPr lang="en-GB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FD0A9E6-2062-CFBD-6CFE-83630C0811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0800000">
            <a:off x="11212287" y="5988844"/>
            <a:ext cx="979713" cy="871537"/>
          </a:xfrm>
          <a:prstGeom prst="halfFrame">
            <a:avLst>
              <a:gd name="adj1" fmla="val 19085"/>
              <a:gd name="adj2" fmla="val 17789"/>
            </a:avLst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fr-FR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1929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ADE8250F-668A-8B5B-3B68-D523C7025B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" y="0"/>
            <a:ext cx="12191998" cy="6860382"/>
          </a:xfrm>
          <a:custGeom>
            <a:avLst/>
            <a:gdLst>
              <a:gd name="connsiteX0" fmla="*/ 0 w 12191998"/>
              <a:gd name="connsiteY0" fmla="*/ 0 h 6860382"/>
              <a:gd name="connsiteX1" fmla="*/ 12191998 w 12191998"/>
              <a:gd name="connsiteY1" fmla="*/ 0 h 6860382"/>
              <a:gd name="connsiteX2" fmla="*/ 12191998 w 12191998"/>
              <a:gd name="connsiteY2" fmla="*/ 6860382 h 6860382"/>
              <a:gd name="connsiteX3" fmla="*/ 0 w 12191998"/>
              <a:gd name="connsiteY3" fmla="*/ 6860382 h 6860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6860382">
                <a:moveTo>
                  <a:pt x="0" y="0"/>
                </a:moveTo>
                <a:lnTo>
                  <a:pt x="12191998" y="0"/>
                </a:lnTo>
                <a:lnTo>
                  <a:pt x="12191998" y="6860382"/>
                </a:lnTo>
                <a:lnTo>
                  <a:pt x="0" y="6860382"/>
                </a:lnTo>
                <a:close/>
              </a:path>
            </a:pathLst>
          </a:custGeom>
          <a:gradFill flip="none" rotWithShape="1">
            <a:gsLst>
              <a:gs pos="90000">
                <a:schemeClr val="tx1">
                  <a:lumMod val="50000"/>
                  <a:alpha val="55000"/>
                </a:schemeClr>
              </a:gs>
              <a:gs pos="0">
                <a:schemeClr val="tx1">
                  <a:lumMod val="50000"/>
                  <a:alpha val="15000"/>
                </a:schemeClr>
              </a:gs>
            </a:gsLst>
            <a:lin ang="8100000" scaled="1"/>
            <a:tileRect/>
          </a:gradFill>
          <a:ln>
            <a:noFill/>
          </a:ln>
        </p:spPr>
        <p:txBody>
          <a:bodyPr vert="horz" lIns="251999" tIns="251999" rIns="251999" bIns="251999" rtlCol="0">
            <a:noAutofit/>
          </a:bodyPr>
          <a:lstStyle>
            <a:lvl1pPr>
              <a:defRPr lang="fr-FR" dirty="0"/>
            </a:lvl1pPr>
          </a:lstStyle>
          <a:p>
            <a:pPr lvl="0"/>
            <a:r>
              <a:rPr lang="fr-FR"/>
              <a:t>  </a:t>
            </a:r>
          </a:p>
        </p:txBody>
      </p:sp>
      <p:sp>
        <p:nvSpPr>
          <p:cNvPr id="19" name="Titre 7">
            <a:extLst>
              <a:ext uri="{FF2B5EF4-FFF2-40B4-BE49-F238E27FC236}">
                <a16:creationId xmlns:a16="http://schemas.microsoft.com/office/drawing/2014/main" id="{BFB1F148-46D4-EE4C-8852-745A78069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9298" y="1847848"/>
            <a:ext cx="9153400" cy="2571264"/>
          </a:xfrm>
        </p:spPr>
        <p:txBody>
          <a:bodyPr/>
          <a:lstStyle>
            <a:lvl1pPr algn="ctr">
              <a:defRPr sz="6600">
                <a:solidFill>
                  <a:schemeClr val="bg1"/>
                </a:solidFill>
                <a:effectLst>
                  <a:outerShdw blurRad="746001" sx="102000" sy="102000" algn="ctr" rotWithShape="0">
                    <a:prstClr val="black"/>
                  </a:outerShdw>
                </a:effectLst>
              </a:defRPr>
            </a:lvl1pPr>
          </a:lstStyle>
          <a:p>
            <a:r>
              <a:rPr lang="fr-FR"/>
              <a:t>Modifiez </a:t>
            </a:r>
            <a:br>
              <a:rPr lang="fr-FR"/>
            </a:br>
            <a:r>
              <a:rPr lang="fr-FR"/>
              <a:t>le style </a:t>
            </a:r>
            <a:br>
              <a:rPr lang="fr-FR"/>
            </a:br>
            <a:r>
              <a:rPr lang="fr-FR"/>
              <a:t>du titre</a:t>
            </a:r>
            <a:endParaRPr lang="en-GB"/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11D85D41-10DA-FB45-ABAC-34DD316940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-1" y="0"/>
            <a:ext cx="12191999" cy="6858000"/>
          </a:xfrm>
          <a:solidFill>
            <a:schemeClr val="tx1">
              <a:lumMod val="20000"/>
              <a:lumOff val="80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FBFD7C3-4BB6-3F42-CB8C-2D6F106E9A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-2382"/>
            <a:ext cx="979713" cy="871537"/>
          </a:xfrm>
          <a:prstGeom prst="halfFrame">
            <a:avLst>
              <a:gd name="adj1" fmla="val 19085"/>
              <a:gd name="adj2" fmla="val 17789"/>
            </a:avLst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fr-FR"/>
              <a:t> </a:t>
            </a:r>
            <a:endParaRPr lang="en-GB"/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6FD0A9E6-2062-CFBD-6CFE-83630C0811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10800000">
            <a:off x="11212287" y="5988844"/>
            <a:ext cx="979713" cy="871537"/>
          </a:xfrm>
          <a:prstGeom prst="halfFrame">
            <a:avLst>
              <a:gd name="adj1" fmla="val 19085"/>
              <a:gd name="adj2" fmla="val 17789"/>
            </a:avLst>
          </a:prstGeom>
          <a:solidFill>
            <a:schemeClr val="bg1"/>
          </a:solidFill>
        </p:spPr>
        <p:txBody>
          <a:bodyPr/>
          <a:lstStyle/>
          <a:p>
            <a:pPr lvl="0"/>
            <a:r>
              <a:rPr lang="fr-FR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6191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1">
            <a:extLst>
              <a:ext uri="{FF2B5EF4-FFF2-40B4-BE49-F238E27FC236}">
                <a16:creationId xmlns:a16="http://schemas.microsoft.com/office/drawing/2014/main" id="{8147C2B1-99C0-4B15-9C36-0A38CDE8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1157"/>
            <a:ext cx="10515600" cy="7012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54B4C2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B8336BC0-47C3-4FD9-871F-6EE8DBB693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53366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6A0AA5-4065-43CC-93AB-A98562B53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l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D67DE69-DCA5-491F-9D7D-C1660A61655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/>
            </a:lvl2pPr>
          </a:lstStyle>
          <a:p>
            <a:pPr lvl="0"/>
            <a:r>
              <a:rPr lang="fr-FR" err="1"/>
              <a:t>You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54754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1">
            <a:extLst>
              <a:ext uri="{FF2B5EF4-FFF2-40B4-BE49-F238E27FC236}">
                <a16:creationId xmlns:a16="http://schemas.microsoft.com/office/drawing/2014/main" id="{BC97D6E0-2964-441D-B31C-1DFE3C763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7496" y="368300"/>
            <a:ext cx="10937833" cy="681182"/>
          </a:xfrm>
        </p:spPr>
        <p:txBody>
          <a:bodyPr lIns="0">
            <a:noAutofit/>
          </a:bodyPr>
          <a:lstStyle>
            <a:lvl1pPr>
              <a:defRPr b="0">
                <a:solidFill>
                  <a:srgbClr val="8E8E8E"/>
                </a:solidFill>
              </a:defRPr>
            </a:lvl1pPr>
          </a:lstStyle>
          <a:p>
            <a:r>
              <a:rPr lang="fr-FR"/>
              <a:t>Click to add slide title, Calibri 30pt</a:t>
            </a:r>
            <a:endParaRPr lang="en-US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DBB5CB51-1CCF-4E81-8B94-284DE8E4EC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7496" y="1709200"/>
            <a:ext cx="10944225" cy="4356100"/>
          </a:xfrm>
        </p:spPr>
        <p:txBody>
          <a:bodyPr lIns="0"/>
          <a:lstStyle>
            <a:lvl1pPr>
              <a:buClr>
                <a:srgbClr val="007DC3"/>
              </a:buClr>
              <a:defRPr>
                <a:solidFill>
                  <a:srgbClr val="007DC3"/>
                </a:solidFill>
              </a:defRPr>
            </a:lvl1pPr>
            <a:lvl2pPr>
              <a:buClr>
                <a:srgbClr val="69747A"/>
              </a:buClr>
              <a:defRPr/>
            </a:lvl2pPr>
            <a:lvl3pPr>
              <a:buClr>
                <a:srgbClr val="007DC3"/>
              </a:buClr>
              <a:defRPr>
                <a:solidFill>
                  <a:srgbClr val="007DC3"/>
                </a:solidFill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ck to add text, Calibri 24pt</a:t>
            </a:r>
            <a:endParaRPr lang="fr-FR" dirty="0"/>
          </a:p>
          <a:p>
            <a:pPr lvl="1"/>
            <a:r>
              <a:rPr lang="fr-FR"/>
              <a:t>Second level, Calibri 20pt</a:t>
            </a:r>
            <a:endParaRPr lang="fr-FR" dirty="0"/>
          </a:p>
          <a:p>
            <a:pPr lvl="2"/>
            <a:r>
              <a:rPr lang="fr-FR"/>
              <a:t>Third level, Calibri 18p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344674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7356FF-428F-3852-7D69-95DB84EA9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1851" y="205337"/>
            <a:ext cx="9873699" cy="452432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1BF5D2B3-E463-FD50-F461-AF86FF4D4A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851" y="1268047"/>
            <a:ext cx="11563226" cy="3231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00"/>
              </a:spcBef>
              <a:buSzPct val="50000"/>
              <a:buFontTx/>
              <a:buNone/>
              <a:defRPr sz="1500" b="0" spc="2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5" name="Espace réservé du numéro de diapositive 6">
            <a:extLst>
              <a:ext uri="{FF2B5EF4-FFF2-40B4-BE49-F238E27FC236}">
                <a16:creationId xmlns:a16="http://schemas.microsoft.com/office/drawing/2014/main" id="{F9C5ACAE-23D9-AD0C-55DC-0E6233D1907F}"/>
              </a:ext>
            </a:extLst>
          </p:cNvPr>
          <p:cNvSpPr txBox="1">
            <a:spLocks/>
          </p:cNvSpPr>
          <p:nvPr userDrawn="1"/>
        </p:nvSpPr>
        <p:spPr>
          <a:xfrm>
            <a:off x="11662664" y="6397470"/>
            <a:ext cx="367408" cy="21544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367B2E-B9DF-44EB-A21A-64C9723206C9}" type="slidenum">
              <a:rPr lang="en-US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0059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1">
            <a:extLst>
              <a:ext uri="{FF2B5EF4-FFF2-40B4-BE49-F238E27FC236}">
                <a16:creationId xmlns:a16="http://schemas.microsoft.com/office/drawing/2014/main" id="{8147C2B1-99C0-4B15-9C36-0A38CDE8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1157"/>
            <a:ext cx="10515600" cy="7012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200" b="1">
                <a:solidFill>
                  <a:srgbClr val="54B4C2"/>
                </a:solidFill>
                <a:latin typeface="+mn-lt"/>
              </a:defRPr>
            </a:lvl1pPr>
          </a:lstStyle>
          <a:p>
            <a:r>
              <a:rPr lang="fr-FR" dirty="0" err="1"/>
              <a:t>Titel</a:t>
            </a:r>
            <a:endParaRPr lang="en-US" dirty="0"/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B8336BC0-47C3-4FD9-871F-6EE8DBB693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 err="1"/>
              <a:t>Ihr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 err="1"/>
              <a:t>Zweite</a:t>
            </a:r>
            <a:r>
              <a:rPr lang="fr-FR" dirty="0"/>
              <a:t> </a:t>
            </a:r>
            <a:r>
              <a:rPr lang="fr-FR" dirty="0" err="1"/>
              <a:t>Eben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35884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:a16="http://schemas.microsoft.com/office/drawing/2014/main" id="{44F1E669-B588-443E-8542-6A2DA41293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 baseline="0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en-GB" noProof="0"/>
              <a:t>Title of presentation</a:t>
            </a:r>
          </a:p>
        </p:txBody>
      </p:sp>
      <p:sp>
        <p:nvSpPr>
          <p:cNvPr id="4" name="Sous-titre 2">
            <a:extLst>
              <a:ext uri="{FF2B5EF4-FFF2-40B4-BE49-F238E27FC236}">
                <a16:creationId xmlns:a16="http://schemas.microsoft.com/office/drawing/2014/main" id="{4DA82A39-83A6-4B7C-9AED-C944AE59FD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rgbClr val="55B89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0230762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42">
            <a:extLst>
              <a:ext uri="{FF2B5EF4-FFF2-40B4-BE49-F238E27FC236}">
                <a16:creationId xmlns:a16="http://schemas.microsoft.com/office/drawing/2014/main" id="{1B42E7DD-3C4A-491C-A7BE-17CA80BDB6DC}"/>
              </a:ext>
            </a:extLst>
          </p:cNvPr>
          <p:cNvSpPr>
            <a:spLocks/>
          </p:cNvSpPr>
          <p:nvPr userDrawn="1"/>
        </p:nvSpPr>
        <p:spPr>
          <a:xfrm>
            <a:off x="1660706" y="4877218"/>
            <a:ext cx="1904594" cy="7103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2400" b="1" noProof="0">
                <a:solidFill>
                  <a:srgbClr val="ED7D31"/>
                </a:solidFill>
                <a:latin typeface="+mn-lt"/>
                <a:ea typeface="MS PGothic"/>
              </a:rPr>
              <a:t>Geothermal</a:t>
            </a:r>
            <a:r>
              <a:rPr lang="en-GB" sz="2400" b="1" baseline="0" noProof="0">
                <a:solidFill>
                  <a:srgbClr val="ED7D31"/>
                </a:solidFill>
                <a:latin typeface="+mn-lt"/>
                <a:ea typeface="MS PGothic"/>
              </a:rPr>
              <a:t> energy</a:t>
            </a:r>
            <a:endParaRPr lang="en-GB" sz="2400" b="1" noProof="0">
              <a:solidFill>
                <a:srgbClr val="ED7D31"/>
              </a:solidFill>
              <a:latin typeface="+mn-lt"/>
              <a:cs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7CFFF6-3977-4BE3-8229-09595B676CC2}"/>
              </a:ext>
            </a:extLst>
          </p:cNvPr>
          <p:cNvSpPr/>
          <p:nvPr userDrawn="1"/>
        </p:nvSpPr>
        <p:spPr>
          <a:xfrm>
            <a:off x="1108402" y="2856694"/>
            <a:ext cx="3009203" cy="80175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n-GB" sz="2400" b="1" noProof="0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Natural Gas</a:t>
            </a:r>
          </a:p>
          <a:p>
            <a:pPr algn="ctr">
              <a:lnSpc>
                <a:spcPct val="90000"/>
              </a:lnSpc>
              <a:spcBef>
                <a:spcPts val="300"/>
              </a:spcBef>
            </a:pPr>
            <a:r>
              <a:rPr lang="en-GB" sz="2400" b="1" noProof="0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Storage</a:t>
            </a:r>
            <a:endParaRPr lang="en-GB" sz="2400" noProof="0">
              <a:solidFill>
                <a:srgbClr val="59B3C3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" name="Rounded Rectangle 42">
            <a:extLst>
              <a:ext uri="{FF2B5EF4-FFF2-40B4-BE49-F238E27FC236}">
                <a16:creationId xmlns:a16="http://schemas.microsoft.com/office/drawing/2014/main" id="{9F16926D-A2C3-4E66-9498-99EA8C1679FF}"/>
              </a:ext>
            </a:extLst>
          </p:cNvPr>
          <p:cNvSpPr>
            <a:spLocks/>
          </p:cNvSpPr>
          <p:nvPr userDrawn="1"/>
        </p:nvSpPr>
        <p:spPr>
          <a:xfrm>
            <a:off x="1326809" y="3876086"/>
            <a:ext cx="2558414" cy="89911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2400" b="1" noProof="0">
                <a:solidFill>
                  <a:srgbClr val="55B893"/>
                </a:solidFill>
                <a:latin typeface="+mn-lt"/>
                <a:ea typeface="MS PGothic"/>
              </a:rPr>
              <a:t>Gas </a:t>
            </a:r>
          </a:p>
          <a:p>
            <a:pPr algn="ctr">
              <a:lnSpc>
                <a:spcPct val="90000"/>
              </a:lnSpc>
            </a:pPr>
            <a:r>
              <a:rPr lang="en-GB" sz="2400" b="1" noProof="0">
                <a:solidFill>
                  <a:srgbClr val="55B893"/>
                </a:solidFill>
                <a:latin typeface="+mn-lt"/>
                <a:ea typeface="MS PGothic"/>
              </a:rPr>
              <a:t>renewable</a:t>
            </a:r>
            <a:endParaRPr lang="en-GB" sz="2400" b="1" noProof="0">
              <a:solidFill>
                <a:srgbClr val="55B893"/>
              </a:solidFill>
              <a:latin typeface="+mn-lt"/>
              <a:cs typeface="Calibri"/>
            </a:endParaRPr>
          </a:p>
        </p:txBody>
      </p:sp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73148A8D-A4CB-495F-AC1D-7880672A7F42}"/>
              </a:ext>
            </a:extLst>
          </p:cNvPr>
          <p:cNvSpPr txBox="1">
            <a:spLocks/>
          </p:cNvSpPr>
          <p:nvPr userDrawn="1"/>
        </p:nvSpPr>
        <p:spPr>
          <a:xfrm>
            <a:off x="1064722" y="807238"/>
            <a:ext cx="10058496" cy="755535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1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9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4000" b="1" noProof="0">
                <a:solidFill>
                  <a:srgbClr val="59B3C3"/>
                </a:solidFill>
                <a:latin typeface="+mn-lt"/>
              </a:rPr>
              <a:t>Use</a:t>
            </a:r>
            <a:r>
              <a:rPr lang="en-GB" sz="4000" b="1" baseline="0" noProof="0">
                <a:solidFill>
                  <a:srgbClr val="59B3C3"/>
                </a:solidFill>
                <a:latin typeface="+mn-lt"/>
              </a:rPr>
              <a:t> of colour concept</a:t>
            </a:r>
            <a:endParaRPr lang="en-GB" sz="4000" b="1" noProof="0">
              <a:solidFill>
                <a:srgbClr val="59B3C3"/>
              </a:solidFill>
              <a:latin typeface="+mn-lt"/>
            </a:endParaRP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4032000" y="2946400"/>
            <a:ext cx="7023100" cy="6985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Slides about natural gas storage should have a turquoise frame.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4032000" y="3924300"/>
            <a:ext cx="7023100" cy="6985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Slides about renewable gas should have a mint green one.</a:t>
            </a:r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032000" y="4902200"/>
            <a:ext cx="7023100" cy="11430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Geothermal energy is represented by an orange frame.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032000" y="1969200"/>
            <a:ext cx="7023100" cy="6985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For content talking about the company in general please use the templates with a colour gradient frame. </a:t>
            </a:r>
          </a:p>
        </p:txBody>
      </p:sp>
    </p:spTree>
    <p:extLst>
      <p:ext uri="{BB962C8B-B14F-4D97-AF65-F5344CB8AC3E}">
        <p14:creationId xmlns:p14="http://schemas.microsoft.com/office/powerpoint/2010/main" val="312440726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73148A8D-A4CB-495F-AC1D-7880672A7F42}"/>
              </a:ext>
            </a:extLst>
          </p:cNvPr>
          <p:cNvSpPr txBox="1">
            <a:spLocks/>
          </p:cNvSpPr>
          <p:nvPr userDrawn="1"/>
        </p:nvSpPr>
        <p:spPr>
          <a:xfrm>
            <a:off x="1064722" y="807238"/>
            <a:ext cx="10058496" cy="755535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1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9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4000" b="1" noProof="0">
                <a:solidFill>
                  <a:srgbClr val="59B3C3"/>
                </a:solidFill>
                <a:latin typeface="+mn-lt"/>
              </a:rPr>
              <a:t>Colour templates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372100" y="2781300"/>
            <a:ext cx="5994400" cy="16510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The two primary colours turquoise and mint green have to be used primarily. </a:t>
            </a:r>
          </a:p>
          <a:p>
            <a:pPr lvl="0"/>
            <a:r>
              <a:rPr lang="en-GB" noProof="0"/>
              <a:t>The blue secondary colours should be used for the issue “natural gas“, the green ones for “renewable gas“ and the warm secondary colours for “geothermal energy“.</a:t>
            </a:r>
          </a:p>
        </p:txBody>
      </p:sp>
      <p:sp>
        <p:nvSpPr>
          <p:cNvPr id="10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38800" y="1969200"/>
            <a:ext cx="10515000" cy="6985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800" baseline="0"/>
            </a:lvl1pPr>
          </a:lstStyle>
          <a:p>
            <a:pPr lvl="0"/>
            <a:r>
              <a:rPr lang="en-GB" noProof="0"/>
              <a:t>The following objects and texts can be used as templates for the </a:t>
            </a:r>
            <a:r>
              <a:rPr lang="en-GB" noProof="0" err="1"/>
              <a:t>Storengy</a:t>
            </a:r>
            <a:r>
              <a:rPr lang="en-GB" noProof="0"/>
              <a:t> primary and secondary colours: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2908300" y="2921000"/>
            <a:ext cx="900000" cy="900000"/>
          </a:xfrm>
          <a:prstGeom prst="rect">
            <a:avLst/>
          </a:prstGeom>
          <a:solidFill>
            <a:srgbClr val="59B3C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054100" y="29972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89 G 179 B 195</a:t>
            </a:r>
          </a:p>
          <a:p>
            <a:pPr lvl="0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3987800" y="2921000"/>
            <a:ext cx="900000" cy="900000"/>
          </a:xfrm>
          <a:prstGeom prst="rect">
            <a:avLst/>
          </a:prstGeom>
          <a:solidFill>
            <a:srgbClr val="55B893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133600" y="29972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85 G 184 B 147</a:t>
            </a:r>
          </a:p>
          <a:p>
            <a:pPr lvl="0"/>
            <a:endParaRPr lang="de-DE"/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EF7CFFF6-3977-4BE3-8229-09595B676CC2}"/>
              </a:ext>
            </a:extLst>
          </p:cNvPr>
          <p:cNvSpPr/>
          <p:nvPr userDrawn="1"/>
        </p:nvSpPr>
        <p:spPr>
          <a:xfrm>
            <a:off x="841703" y="3174194"/>
            <a:ext cx="1914197" cy="7632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l">
              <a:lnSpc>
                <a:spcPct val="90000"/>
              </a:lnSpc>
              <a:spcBef>
                <a:spcPts val="300"/>
              </a:spcBef>
            </a:pPr>
            <a:r>
              <a:rPr lang="en-GB" sz="2400" b="1" noProof="0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Primary</a:t>
            </a:r>
            <a:r>
              <a:rPr lang="en-GB" sz="2400" b="1" baseline="0" noProof="0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 colour</a:t>
            </a:r>
            <a:endParaRPr lang="en-GB" sz="2400" noProof="0">
              <a:solidFill>
                <a:srgbClr val="59B3C3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908300" y="4635500"/>
            <a:ext cx="900000" cy="900000"/>
          </a:xfrm>
          <a:prstGeom prst="rect">
            <a:avLst/>
          </a:prstGeom>
          <a:solidFill>
            <a:srgbClr val="23D2B5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0541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35 G 210 B 181</a:t>
            </a:r>
          </a:p>
          <a:p>
            <a:pPr lvl="0"/>
            <a:endParaRPr lang="de-DE"/>
          </a:p>
        </p:txBody>
      </p:sp>
      <p:sp>
        <p:nvSpPr>
          <p:cNvPr id="21" name="Rechteck 20"/>
          <p:cNvSpPr/>
          <p:nvPr userDrawn="1"/>
        </p:nvSpPr>
        <p:spPr>
          <a:xfrm>
            <a:off x="3987800" y="4635500"/>
            <a:ext cx="900000" cy="900000"/>
          </a:xfrm>
          <a:prstGeom prst="rect">
            <a:avLst/>
          </a:prstGeom>
          <a:solidFill>
            <a:srgbClr val="00BCF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platzhalt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41336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0   G 188 B 253</a:t>
            </a:r>
          </a:p>
          <a:p>
            <a:pPr lvl="0"/>
            <a:endParaRPr lang="de-DE"/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EF7CFFF6-3977-4BE3-8229-09595B676CC2}"/>
              </a:ext>
            </a:extLst>
          </p:cNvPr>
          <p:cNvSpPr/>
          <p:nvPr userDrawn="1"/>
        </p:nvSpPr>
        <p:spPr>
          <a:xfrm>
            <a:off x="841703" y="4647394"/>
            <a:ext cx="2066598" cy="7632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fr-FR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l">
              <a:lnSpc>
                <a:spcPct val="90000"/>
              </a:lnSpc>
              <a:spcBef>
                <a:spcPts val="300"/>
              </a:spcBef>
            </a:pPr>
            <a:r>
              <a:rPr lang="en-GB" sz="2400" b="1" noProof="0">
                <a:solidFill>
                  <a:srgbClr val="59B3C3"/>
                </a:solidFill>
                <a:latin typeface="+mn-lt"/>
                <a:ea typeface="MS PGothic"/>
                <a:cs typeface="Calibri"/>
              </a:rPr>
              <a:t>Secondary colour</a:t>
            </a:r>
            <a:endParaRPr lang="en-GB" sz="2400" noProof="0">
              <a:solidFill>
                <a:srgbClr val="59B3C3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5067300" y="4635500"/>
            <a:ext cx="900000" cy="900000"/>
          </a:xfrm>
          <a:prstGeom prst="rect">
            <a:avLst/>
          </a:prstGeom>
          <a:solidFill>
            <a:srgbClr val="006B7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platzhalt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52131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0   G 107 B 120</a:t>
            </a:r>
          </a:p>
          <a:p>
            <a:pPr lvl="0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6146800" y="4635500"/>
            <a:ext cx="900000" cy="900000"/>
          </a:xfrm>
          <a:prstGeom prst="rect">
            <a:avLst/>
          </a:prstGeom>
          <a:solidFill>
            <a:srgbClr val="0573EE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platzhalt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62926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5   G 115 B 238</a:t>
            </a:r>
          </a:p>
          <a:p>
            <a:pPr lvl="0"/>
            <a:endParaRPr lang="de-DE"/>
          </a:p>
        </p:txBody>
      </p:sp>
      <p:sp>
        <p:nvSpPr>
          <p:cNvPr id="43" name="Rechteck 42"/>
          <p:cNvSpPr/>
          <p:nvPr userDrawn="1"/>
        </p:nvSpPr>
        <p:spPr>
          <a:xfrm>
            <a:off x="7213600" y="4635500"/>
            <a:ext cx="900000" cy="900000"/>
          </a:xfrm>
          <a:prstGeom prst="rect">
            <a:avLst/>
          </a:prstGeom>
          <a:solidFill>
            <a:srgbClr val="1F106D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Textplatzhalt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73594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31 G 16 B 109</a:t>
            </a:r>
          </a:p>
          <a:p>
            <a:pPr lvl="0"/>
            <a:endParaRPr lang="de-DE"/>
          </a:p>
        </p:txBody>
      </p:sp>
      <p:sp>
        <p:nvSpPr>
          <p:cNvPr id="46" name="Rechteck 45"/>
          <p:cNvSpPr/>
          <p:nvPr userDrawn="1"/>
        </p:nvSpPr>
        <p:spPr>
          <a:xfrm>
            <a:off x="8293100" y="4635500"/>
            <a:ext cx="900000" cy="900000"/>
          </a:xfrm>
          <a:prstGeom prst="rect">
            <a:avLst/>
          </a:prstGeom>
          <a:solidFill>
            <a:srgbClr val="E74A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Textplatzhalt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8438900" y="4711700"/>
            <a:ext cx="603500" cy="749300"/>
          </a:xfrm>
        </p:spPr>
        <p:txBody>
          <a:bodyPr>
            <a:no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231 G 74 B 80</a:t>
            </a:r>
          </a:p>
          <a:p>
            <a:pPr lvl="0"/>
            <a:r>
              <a:rPr lang="de-DE"/>
              <a:t> </a:t>
            </a:r>
          </a:p>
        </p:txBody>
      </p:sp>
      <p:sp>
        <p:nvSpPr>
          <p:cNvPr id="49" name="Rechteck 48"/>
          <p:cNvSpPr/>
          <p:nvPr userDrawn="1"/>
        </p:nvSpPr>
        <p:spPr>
          <a:xfrm>
            <a:off x="9372600" y="4635500"/>
            <a:ext cx="900000" cy="900000"/>
          </a:xfrm>
          <a:prstGeom prst="rect">
            <a:avLst/>
          </a:prstGeom>
          <a:solidFill>
            <a:srgbClr val="F78A3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78A31"/>
              </a:solidFill>
            </a:endParaRPr>
          </a:p>
        </p:txBody>
      </p:sp>
      <p:sp>
        <p:nvSpPr>
          <p:cNvPr id="50" name="Textplatzhalter 14"/>
          <p:cNvSpPr>
            <a:spLocks noGrp="1"/>
          </p:cNvSpPr>
          <p:nvPr>
            <p:ph type="body" sz="quarter" idx="22" hasCustomPrompt="1"/>
          </p:nvPr>
        </p:nvSpPr>
        <p:spPr>
          <a:xfrm>
            <a:off x="95184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247 G 138 B 49</a:t>
            </a:r>
          </a:p>
          <a:p>
            <a:pPr lvl="0"/>
            <a:endParaRPr lang="de-DE"/>
          </a:p>
        </p:txBody>
      </p:sp>
      <p:sp>
        <p:nvSpPr>
          <p:cNvPr id="52" name="Rechteck 51"/>
          <p:cNvSpPr/>
          <p:nvPr userDrawn="1"/>
        </p:nvSpPr>
        <p:spPr>
          <a:xfrm>
            <a:off x="10452100" y="4635500"/>
            <a:ext cx="900000" cy="900000"/>
          </a:xfrm>
          <a:prstGeom prst="rect">
            <a:avLst/>
          </a:prstGeom>
          <a:solidFill>
            <a:srgbClr val="FBDB0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3" name="Textplatzhalter 14"/>
          <p:cNvSpPr>
            <a:spLocks noGrp="1"/>
          </p:cNvSpPr>
          <p:nvPr>
            <p:ph type="body" sz="quarter" idx="23" hasCustomPrompt="1"/>
          </p:nvPr>
        </p:nvSpPr>
        <p:spPr>
          <a:xfrm>
            <a:off x="10597900" y="4711700"/>
            <a:ext cx="603500" cy="7493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R 251 G 219 B 6</a:t>
            </a:r>
          </a:p>
          <a:p>
            <a:pPr lvl="0"/>
            <a:endParaRPr lang="de-DE"/>
          </a:p>
        </p:txBody>
      </p:sp>
      <p:sp>
        <p:nvSpPr>
          <p:cNvPr id="39" name="Espace réservé du titre 1">
            <a:extLst>
              <a:ext uri="{FF2B5EF4-FFF2-40B4-BE49-F238E27FC236}">
                <a16:creationId xmlns:a16="http://schemas.microsoft.com/office/drawing/2014/main" id="{8147C2B1-99C0-4B15-9C36-0A38CDE8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1800" y="3826800"/>
            <a:ext cx="762000" cy="515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24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de-DE" noProof="0"/>
              <a:t>Text</a:t>
            </a:r>
          </a:p>
        </p:txBody>
      </p:sp>
      <p:sp>
        <p:nvSpPr>
          <p:cNvPr id="40" name="Textplatzhalt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064600" y="38268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55B893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1" name="Textplatzhalt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29718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23D2B5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4" name="Textplatzhalt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40646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00BCFD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5" name="Textplatzhalter 14"/>
          <p:cNvSpPr>
            <a:spLocks noGrp="1"/>
          </p:cNvSpPr>
          <p:nvPr>
            <p:ph type="body" sz="quarter" idx="27" hasCustomPrompt="1"/>
          </p:nvPr>
        </p:nvSpPr>
        <p:spPr>
          <a:xfrm>
            <a:off x="51441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006B7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6" name="Textplatzhalter 14"/>
          <p:cNvSpPr>
            <a:spLocks noGrp="1"/>
          </p:cNvSpPr>
          <p:nvPr>
            <p:ph type="body" sz="quarter" idx="28" hasCustomPrompt="1"/>
          </p:nvPr>
        </p:nvSpPr>
        <p:spPr>
          <a:xfrm>
            <a:off x="62236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0573EE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7" name="Textplatzhalter 14"/>
          <p:cNvSpPr>
            <a:spLocks noGrp="1"/>
          </p:cNvSpPr>
          <p:nvPr>
            <p:ph type="body" sz="quarter" idx="29" hasCustomPrompt="1"/>
          </p:nvPr>
        </p:nvSpPr>
        <p:spPr>
          <a:xfrm>
            <a:off x="73031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1F106D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8" name="Textplatzhalter 14"/>
          <p:cNvSpPr>
            <a:spLocks noGrp="1"/>
          </p:cNvSpPr>
          <p:nvPr>
            <p:ph type="body" sz="quarter" idx="30" hasCustomPrompt="1"/>
          </p:nvPr>
        </p:nvSpPr>
        <p:spPr>
          <a:xfrm>
            <a:off x="83699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E74A50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59" name="Textplatzhalter 14"/>
          <p:cNvSpPr>
            <a:spLocks noGrp="1"/>
          </p:cNvSpPr>
          <p:nvPr>
            <p:ph type="body" sz="quarter" idx="31" hasCustomPrompt="1"/>
          </p:nvPr>
        </p:nvSpPr>
        <p:spPr>
          <a:xfrm>
            <a:off x="94494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F78A3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60" name="Textplatzhalter 14"/>
          <p:cNvSpPr>
            <a:spLocks noGrp="1"/>
          </p:cNvSpPr>
          <p:nvPr>
            <p:ph type="body" sz="quarter" idx="32" hasCustomPrompt="1"/>
          </p:nvPr>
        </p:nvSpPr>
        <p:spPr>
          <a:xfrm>
            <a:off x="10528900" y="5537900"/>
            <a:ext cx="763200" cy="514800"/>
          </a:xfrm>
        </p:spPr>
        <p:txBody>
          <a:bodyPr>
            <a:normAutofit/>
          </a:bodyPr>
          <a:lstStyle>
            <a:lvl1pPr marL="0">
              <a:lnSpc>
                <a:spcPct val="90000"/>
              </a:lnSpc>
              <a:buNone/>
              <a:defRPr sz="2400" b="1" baseline="0">
                <a:solidFill>
                  <a:srgbClr val="FBDB06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767522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: abgerundete Ecken 24">
            <a:extLst>
              <a:ext uri="{FF2B5EF4-FFF2-40B4-BE49-F238E27FC236}">
                <a16:creationId xmlns:a16="http://schemas.microsoft.com/office/drawing/2014/main" id="{A4B7713B-A704-417A-BAD9-E30B1E714DCA}"/>
              </a:ext>
            </a:extLst>
          </p:cNvPr>
          <p:cNvSpPr/>
          <p:nvPr userDrawn="1"/>
        </p:nvSpPr>
        <p:spPr>
          <a:xfrm>
            <a:off x="1522800" y="195362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2400" b="1" kern="120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en-US" sz="2400" b="1">
              <a:effectLst/>
              <a:ea typeface="Calibri" panose="020F0502020204030204" pitchFamily="34" charset="0"/>
            </a:endParaRPr>
          </a:p>
        </p:txBody>
      </p:sp>
      <p:sp>
        <p:nvSpPr>
          <p:cNvPr id="7" name="Rechteck: abgerundete Ecken 25">
            <a:extLst>
              <a:ext uri="{FF2B5EF4-FFF2-40B4-BE49-F238E27FC236}">
                <a16:creationId xmlns:a16="http://schemas.microsoft.com/office/drawing/2014/main" id="{94B6890E-AF85-49FB-BA32-EA4AC656CFBD}"/>
              </a:ext>
            </a:extLst>
          </p:cNvPr>
          <p:cNvSpPr/>
          <p:nvPr userDrawn="1"/>
        </p:nvSpPr>
        <p:spPr>
          <a:xfrm>
            <a:off x="1522800" y="259156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rgbClr val="FFFFFF"/>
                </a:solidFill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8" name="Rechteck: abgerundete Ecken 26">
            <a:extLst>
              <a:ext uri="{FF2B5EF4-FFF2-40B4-BE49-F238E27FC236}">
                <a16:creationId xmlns:a16="http://schemas.microsoft.com/office/drawing/2014/main" id="{5AD3229B-B235-44C6-BE70-213E2B899A18}"/>
              </a:ext>
            </a:extLst>
          </p:cNvPr>
          <p:cNvSpPr/>
          <p:nvPr userDrawn="1"/>
        </p:nvSpPr>
        <p:spPr>
          <a:xfrm>
            <a:off x="1522800" y="322950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rgbClr val="FFFFFF"/>
                </a:solidFill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1" name="Rechteck: abgerundete Ecken 11">
            <a:extLst>
              <a:ext uri="{FF2B5EF4-FFF2-40B4-BE49-F238E27FC236}">
                <a16:creationId xmlns:a16="http://schemas.microsoft.com/office/drawing/2014/main" id="{0FE227B1-F57F-47BA-8FA5-B296D474C76F}"/>
              </a:ext>
            </a:extLst>
          </p:cNvPr>
          <p:cNvSpPr/>
          <p:nvPr userDrawn="1"/>
        </p:nvSpPr>
        <p:spPr>
          <a:xfrm>
            <a:off x="1522800" y="386744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rgbClr val="FFFFFF"/>
                </a:solidFill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13" name="Rechteck: abgerundete Ecken 11">
            <a:extLst>
              <a:ext uri="{FF2B5EF4-FFF2-40B4-BE49-F238E27FC236}">
                <a16:creationId xmlns:a16="http://schemas.microsoft.com/office/drawing/2014/main" id="{0FE227B1-F57F-47BA-8FA5-B296D474C76F}"/>
              </a:ext>
            </a:extLst>
          </p:cNvPr>
          <p:cNvSpPr/>
          <p:nvPr userDrawn="1"/>
        </p:nvSpPr>
        <p:spPr>
          <a:xfrm>
            <a:off x="1522800" y="450538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rgbClr val="FFFFFF"/>
                </a:solidFill>
                <a:cs typeface="Times New Roman" panose="02020603050405020304" pitchFamily="18" charset="0"/>
              </a:rPr>
              <a:t>5</a:t>
            </a:r>
          </a:p>
        </p:txBody>
      </p:sp>
      <p:sp>
        <p:nvSpPr>
          <p:cNvPr id="14" name="Rechteck: abgerundete Ecken 11">
            <a:extLst>
              <a:ext uri="{FF2B5EF4-FFF2-40B4-BE49-F238E27FC236}">
                <a16:creationId xmlns:a16="http://schemas.microsoft.com/office/drawing/2014/main" id="{0FE227B1-F57F-47BA-8FA5-B296D474C76F}"/>
              </a:ext>
            </a:extLst>
          </p:cNvPr>
          <p:cNvSpPr/>
          <p:nvPr userDrawn="1"/>
        </p:nvSpPr>
        <p:spPr>
          <a:xfrm>
            <a:off x="1522800" y="5143320"/>
            <a:ext cx="1324584" cy="45609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88000">
                <a:srgbClr val="59B3C3"/>
              </a:gs>
              <a:gs pos="1948">
                <a:srgbClr val="55B893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rgbClr val="FFFFFF"/>
                </a:solidFill>
                <a:cs typeface="Times New Roman" panose="02020603050405020304" pitchFamily="18" charset="0"/>
              </a:rPr>
              <a:t>6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73148A8D-A4CB-495F-AC1D-7880672A7F42}"/>
              </a:ext>
            </a:extLst>
          </p:cNvPr>
          <p:cNvSpPr txBox="1">
            <a:spLocks/>
          </p:cNvSpPr>
          <p:nvPr userDrawn="1"/>
        </p:nvSpPr>
        <p:spPr>
          <a:xfrm>
            <a:off x="1064722" y="807238"/>
            <a:ext cx="10058496" cy="755535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755934" rtl="0" eaLnBrk="1" latinLnBrk="0" hangingPunct="1">
              <a:lnSpc>
                <a:spcPct val="90000"/>
              </a:lnSpc>
              <a:spcBef>
                <a:spcPts val="827"/>
              </a:spcBef>
              <a:buFont typeface="Arial" panose="020B0604020202020204" pitchFamily="34" charset="0"/>
              <a:buNone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7967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115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34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99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33902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11869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9836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67803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45771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23738" indent="0" algn="l" defTabSz="755934" rtl="0" eaLnBrk="1" latinLnBrk="0" hangingPunct="1">
              <a:lnSpc>
                <a:spcPct val="90000"/>
              </a:lnSpc>
              <a:spcBef>
                <a:spcPts val="413"/>
              </a:spcBef>
              <a:buFont typeface="Arial" panose="020B0604020202020204" pitchFamily="34" charset="0"/>
              <a:buNone/>
              <a:defRPr sz="8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noProof="0">
                <a:solidFill>
                  <a:srgbClr val="59B3C3"/>
                </a:solidFill>
                <a:latin typeface="+mn-lt"/>
              </a:rPr>
              <a:t>Agenda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3149600" y="196850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/>
            </a:lvl1pPr>
          </a:lstStyle>
          <a:p>
            <a:pPr lvl="0"/>
            <a:r>
              <a:rPr lang="en-GB" noProof="0"/>
              <a:t>Topic 1</a:t>
            </a:r>
          </a:p>
        </p:txBody>
      </p:sp>
      <p:sp>
        <p:nvSpPr>
          <p:cNvPr id="34" name="Textplatzhalter 32"/>
          <p:cNvSpPr>
            <a:spLocks noGrp="1"/>
          </p:cNvSpPr>
          <p:nvPr>
            <p:ph type="body" sz="quarter" idx="11" hasCustomPrompt="1"/>
          </p:nvPr>
        </p:nvSpPr>
        <p:spPr>
          <a:xfrm>
            <a:off x="3149600" y="260350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GB" noProof="0"/>
              <a:t>Topic 2</a:t>
            </a:r>
          </a:p>
        </p:txBody>
      </p:sp>
      <p:sp>
        <p:nvSpPr>
          <p:cNvPr id="35" name="Textplatzhalt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3149600" y="323215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>
                <a:solidFill>
                  <a:srgbClr val="A6A6A6"/>
                </a:solidFill>
              </a:defRPr>
            </a:lvl1pPr>
          </a:lstStyle>
          <a:p>
            <a:pPr lvl="0"/>
            <a:r>
              <a:rPr lang="en-GB" noProof="0"/>
              <a:t>Topic 3</a:t>
            </a:r>
          </a:p>
        </p:txBody>
      </p:sp>
      <p:sp>
        <p:nvSpPr>
          <p:cNvPr id="36" name="Textplatzhalter 32"/>
          <p:cNvSpPr>
            <a:spLocks noGrp="1"/>
          </p:cNvSpPr>
          <p:nvPr>
            <p:ph type="body" sz="quarter" idx="13" hasCustomPrompt="1"/>
          </p:nvPr>
        </p:nvSpPr>
        <p:spPr>
          <a:xfrm>
            <a:off x="3149600" y="388620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 baseline="0">
                <a:solidFill>
                  <a:srgbClr val="A6A6A6"/>
                </a:solidFill>
              </a:defRPr>
            </a:lvl1pPr>
          </a:lstStyle>
          <a:p>
            <a:pPr lvl="0"/>
            <a:r>
              <a:rPr lang="en-GB" noProof="0"/>
              <a:t>Topic 4</a:t>
            </a:r>
          </a:p>
        </p:txBody>
      </p:sp>
      <p:sp>
        <p:nvSpPr>
          <p:cNvPr id="37" name="Textplatzhalter 32"/>
          <p:cNvSpPr>
            <a:spLocks noGrp="1"/>
          </p:cNvSpPr>
          <p:nvPr>
            <p:ph type="body" sz="quarter" idx="14" hasCustomPrompt="1"/>
          </p:nvPr>
        </p:nvSpPr>
        <p:spPr>
          <a:xfrm>
            <a:off x="3149600" y="452120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 baseline="0">
                <a:solidFill>
                  <a:srgbClr val="A6A6A6"/>
                </a:solidFill>
              </a:defRPr>
            </a:lvl1pPr>
          </a:lstStyle>
          <a:p>
            <a:pPr lvl="0"/>
            <a:r>
              <a:rPr lang="en-GB" noProof="0"/>
              <a:t>Topic 5</a:t>
            </a:r>
          </a:p>
        </p:txBody>
      </p:sp>
      <p:sp>
        <p:nvSpPr>
          <p:cNvPr id="38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3150000" y="5149850"/>
            <a:ext cx="7886700" cy="533400"/>
          </a:xfrm>
        </p:spPr>
        <p:txBody>
          <a:bodyPr>
            <a:normAutofit/>
          </a:bodyPr>
          <a:lstStyle>
            <a:lvl1pPr>
              <a:buFontTx/>
              <a:buNone/>
              <a:defRPr sz="2400">
                <a:solidFill>
                  <a:srgbClr val="A6A6A6"/>
                </a:solidFill>
              </a:defRPr>
            </a:lvl1pPr>
          </a:lstStyle>
          <a:p>
            <a:pPr lvl="0"/>
            <a:r>
              <a:rPr lang="en-GB" noProof="0"/>
              <a:t>Topic 6</a:t>
            </a:r>
          </a:p>
        </p:txBody>
      </p:sp>
    </p:spTree>
    <p:extLst>
      <p:ext uri="{BB962C8B-B14F-4D97-AF65-F5344CB8AC3E}">
        <p14:creationId xmlns:p14="http://schemas.microsoft.com/office/powerpoint/2010/main" val="41536623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D2EC2A-FF51-42C1-9771-F518DE2EED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 baseline="0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en-GB" noProof="0"/>
              <a:t>Title / Chapter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0DA0EA6-7173-4957-A20E-212B66FF9CA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8923754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itre 1">
            <a:extLst>
              <a:ext uri="{FF2B5EF4-FFF2-40B4-BE49-F238E27FC236}">
                <a16:creationId xmlns:a16="http://schemas.microsoft.com/office/drawing/2014/main" id="{8147C2B1-99C0-4B15-9C36-0A38CDE8D8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400"/>
            <a:ext cx="10515600" cy="70122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B8336BC0-47C3-4FD9-871F-6EE8DBB693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/>
            </a:lvl1pPr>
            <a:lvl2pPr>
              <a:defRPr sz="2000"/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Your text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98996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7C2D60-F662-4ED9-95FB-A6E69187FE8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B52D968-009E-4660-8BA6-70EF17A058C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Bild</a:t>
            </a:r>
            <a:r>
              <a:rPr lang="fr-FR"/>
              <a:t>/</a:t>
            </a:r>
            <a:r>
              <a:rPr lang="fr-FR" err="1"/>
              <a:t>Video</a:t>
            </a:r>
            <a:endParaRPr lang="en-US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C1FA9FC7-B4CF-4EB3-8DB9-7152FCF85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C27A07B-A258-4B54-BEC5-55CC878EBEA9}"/>
              </a:ext>
            </a:extLst>
          </p:cNvPr>
          <p:cNvCxnSpPr>
            <a:cxnSpLocks/>
          </p:cNvCxnSpPr>
          <p:nvPr userDrawn="1"/>
        </p:nvCxnSpPr>
        <p:spPr>
          <a:xfrm flipH="1">
            <a:off x="6093970" y="2018581"/>
            <a:ext cx="2030" cy="4037162"/>
          </a:xfrm>
          <a:prstGeom prst="line">
            <a:avLst/>
          </a:prstGeom>
          <a:ln w="155575">
            <a:gradFill flip="none" rotWithShape="1">
              <a:gsLst>
                <a:gs pos="0">
                  <a:srgbClr val="54B4C2"/>
                </a:gs>
                <a:gs pos="100000">
                  <a:srgbClr val="56B794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95176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7C2D60-F662-4ED9-95FB-A6E69187FE8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noProof="0"/>
              <a:t>Your text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2B52D968-009E-4660-8BA6-70EF17A058C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>
              <a:defRPr lang="en-US" sz="24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Your picture/video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:a16="http://schemas.microsoft.com/office/drawing/2014/main" id="{DC27A07B-A258-4B54-BEC5-55CC878EBEA9}"/>
              </a:ext>
            </a:extLst>
          </p:cNvPr>
          <p:cNvCxnSpPr>
            <a:cxnSpLocks/>
          </p:cNvCxnSpPr>
          <p:nvPr userDrawn="1"/>
        </p:nvCxnSpPr>
        <p:spPr>
          <a:xfrm>
            <a:off x="6093970" y="2508153"/>
            <a:ext cx="1" cy="2441893"/>
          </a:xfrm>
          <a:prstGeom prst="line">
            <a:avLst/>
          </a:prstGeom>
          <a:ln w="155575">
            <a:gradFill flip="none" rotWithShape="1">
              <a:gsLst>
                <a:gs pos="0">
                  <a:srgbClr val="54B4C2"/>
                </a:gs>
                <a:gs pos="100000">
                  <a:srgbClr val="56B794"/>
                </a:gs>
              </a:gsLst>
              <a:path path="circle">
                <a:fillToRect l="100000" t="100000"/>
              </a:path>
              <a:tileRect r="-100000" b="-10000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re 1">
            <a:extLst>
              <a:ext uri="{FF2B5EF4-FFF2-40B4-BE49-F238E27FC236}">
                <a16:creationId xmlns:a16="http://schemas.microsoft.com/office/drawing/2014/main" id="{4C6A0AA5-4065-43CC-93AB-A98562B53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 anchor="t"/>
          <a:lstStyle>
            <a:lvl1pPr>
              <a:defRPr sz="3200" b="1" baseline="0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6853059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933"/>
            </a:lvl1pPr>
          </a:lstStyle>
          <a:p>
            <a:r>
              <a:rPr lang="de-DE" noProof="0"/>
              <a:t>Cliquez et 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2E9017-209F-2341-BF35-ECAA3959CCA5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3183566"/>
      </p:ext>
    </p:extLst>
  </p:cSld>
  <p:clrMapOvr>
    <a:masterClrMapping/>
  </p:clrMapOvr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9A05265-8162-4975-8813-62E9E2B5495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</a:lstStyle>
          <a:p>
            <a:pPr lvl="0"/>
            <a:r>
              <a:rPr lang="fr-FR"/>
              <a:t>Votre text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6C8AFD78-90B9-4205-9709-019DA80664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/>
              <a:t>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267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778B9FF-F1D1-4B9F-A9A6-BDE945CFD6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r>
              <a:rPr lang="fr-FR"/>
              <a:t> / </a:t>
            </a:r>
            <a:r>
              <a:rPr lang="fr-FR" err="1"/>
              <a:t>Kapitel</a:t>
            </a:r>
            <a:endParaRPr lang="en-US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1150858-C5BF-42A4-8D6A-FDFCC2D678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Unter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772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C6A0AA5-4065-43CC-93AB-A98562B53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D67DE69-DCA5-491F-9D7D-C1660A61655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 err="1"/>
              <a:t>Zweite</a:t>
            </a:r>
            <a:r>
              <a:rPr lang="fr-FR"/>
              <a:t> </a:t>
            </a:r>
            <a:r>
              <a:rPr lang="fr-FR" err="1"/>
              <a:t>Eben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4363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7A31748-F44F-4815-9185-8EB5CF2F9FC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Text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D132E9A-B096-4DDD-A31C-5AE2C6B19BD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err="1"/>
              <a:t>Ihr</a:t>
            </a:r>
            <a:r>
              <a:rPr lang="fr-FR"/>
              <a:t> </a:t>
            </a:r>
            <a:r>
              <a:rPr lang="fr-FR" err="1"/>
              <a:t>Bild</a:t>
            </a:r>
            <a:r>
              <a:rPr lang="fr-FR"/>
              <a:t>/</a:t>
            </a:r>
            <a:r>
              <a:rPr lang="fr-FR" err="1"/>
              <a:t>Video</a:t>
            </a:r>
            <a:endParaRPr lang="en-US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BCD94EFE-3C40-43E7-9602-9226571EB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500063"/>
            <a:ext cx="10515600" cy="644340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5139FAB0-A554-4EA6-B0F7-17A5037BE738}"/>
              </a:ext>
            </a:extLst>
          </p:cNvPr>
          <p:cNvCxnSpPr>
            <a:cxnSpLocks/>
          </p:cNvCxnSpPr>
          <p:nvPr userDrawn="1"/>
        </p:nvCxnSpPr>
        <p:spPr>
          <a:xfrm>
            <a:off x="6093970" y="2508153"/>
            <a:ext cx="1" cy="2441893"/>
          </a:xfrm>
          <a:prstGeom prst="line">
            <a:avLst/>
          </a:prstGeom>
          <a:ln w="155575">
            <a:solidFill>
              <a:srgbClr val="59B3C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6109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D6B6B3-B751-4981-A77C-2203FBF9C4B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rgbClr val="59B3C3"/>
                </a:solidFill>
                <a:latin typeface="+mn-lt"/>
              </a:defRPr>
            </a:lvl1pPr>
          </a:lstStyle>
          <a:p>
            <a:r>
              <a:rPr lang="fr-FR" err="1"/>
              <a:t>Titel</a:t>
            </a:r>
            <a:endParaRPr lang="en-US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A55C59C1-5656-440F-93B0-0F20B0621E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Untertit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907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jpe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8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3.sv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image" Target="../media/image12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11.jpeg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image" Target="../media/image10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14.jpeg"/><Relationship Id="rId5" Type="http://schemas.openxmlformats.org/officeDocument/2006/relationships/slideLayout" Target="../slideLayouts/slideLayout48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otion&#10;&#10;Description générée automatiquement">
            <a:extLst>
              <a:ext uri="{FF2B5EF4-FFF2-40B4-BE49-F238E27FC236}">
                <a16:creationId xmlns:a16="http://schemas.microsoft.com/office/drawing/2014/main" id="{7FAF4D9A-B837-4EEF-A0F1-549409F26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  <a:effectLst/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E5871FF0-E20F-444A-9A48-0341766B061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6121" y="438146"/>
            <a:ext cx="11315699" cy="5981705"/>
          </a:xfrm>
          <a:prstGeom prst="rect">
            <a:avLst/>
          </a:prstGeom>
        </p:spPr>
      </p:pic>
      <p:sp>
        <p:nvSpPr>
          <p:cNvPr id="5" name="ZoneTexte 24">
            <a:extLst>
              <a:ext uri="{FF2B5EF4-FFF2-40B4-BE49-F238E27FC236}">
                <a16:creationId xmlns:a16="http://schemas.microsoft.com/office/drawing/2014/main" id="{316FF3AE-9FA4-40B3-9812-EF1AC073E262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6" name="Connecteur droit 36">
            <a:extLst>
              <a:ext uri="{FF2B5EF4-FFF2-40B4-BE49-F238E27FC236}">
                <a16:creationId xmlns:a16="http://schemas.microsoft.com/office/drawing/2014/main" id="{AA7AEBD0-F6C7-4318-B622-2C34E2216771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D8FDEDE7-746C-4773-A193-84D787D21E20}"/>
              </a:ext>
            </a:extLst>
          </p:cNvPr>
          <p:cNvSpPr txBox="1">
            <a:spLocks/>
          </p:cNvSpPr>
          <p:nvPr userDrawn="1"/>
        </p:nvSpPr>
        <p:spPr>
          <a:xfrm>
            <a:off x="430373" y="6551652"/>
            <a:ext cx="5762895" cy="247009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Titelplatzhalter 15">
            <a:extLst>
              <a:ext uri="{FF2B5EF4-FFF2-40B4-BE49-F238E27FC236}">
                <a16:creationId xmlns:a16="http://schemas.microsoft.com/office/drawing/2014/main" id="{C8EEE7C1-9CF3-4CA5-B3C4-E67A53E2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170" y="4341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434C462-B63F-4E46-AC5B-F8504D0F18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0" name="Grafik 9" descr="Ein Bild, das Text, Geschirr, Teller, ClipArt enthält.&#10;&#10;Automatisch generierte Beschreibung">
            <a:extLst>
              <a:ext uri="{FF2B5EF4-FFF2-40B4-BE49-F238E27FC236}">
                <a16:creationId xmlns:a16="http://schemas.microsoft.com/office/drawing/2014/main" id="{A7B4543A-0A84-497D-B63D-9E2862195BE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730" y="6550657"/>
            <a:ext cx="643090" cy="245163"/>
          </a:xfrm>
          <a:prstGeom prst="rect">
            <a:avLst/>
          </a:prstGeom>
        </p:spPr>
      </p:pic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2787A5D-9B45-DD2C-D71B-84C3A390F0AB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6111624" cy="306346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7572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7" r:id="rId2"/>
    <p:sldLayoutId id="2147483651" r:id="rId3"/>
    <p:sldLayoutId id="2147483675" r:id="rId4"/>
    <p:sldLayoutId id="2147483679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que 7">
            <a:extLst>
              <a:ext uri="{FF2B5EF4-FFF2-40B4-BE49-F238E27FC236}">
                <a16:creationId xmlns:a16="http://schemas.microsoft.com/office/drawing/2014/main" id="{50B6EE17-55C0-48E4-8C8D-7D0D25F19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6121" y="438146"/>
            <a:ext cx="11315699" cy="5981705"/>
          </a:xfrm>
          <a:prstGeom prst="rect">
            <a:avLst/>
          </a:prstGeom>
        </p:spPr>
      </p:pic>
      <p:pic>
        <p:nvPicPr>
          <p:cNvPr id="9" name="Espace réservé du contenu 6" descr="Une image contenant texte, clipart, assiette, arts de la table&#10;&#10;Description générée automatiquement">
            <a:extLst>
              <a:ext uri="{FF2B5EF4-FFF2-40B4-BE49-F238E27FC236}">
                <a16:creationId xmlns:a16="http://schemas.microsoft.com/office/drawing/2014/main" id="{76829555-875F-48AA-9BCB-8A925D0F5E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852" y="6461642"/>
            <a:ext cx="955317" cy="35388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90EB4BE-2730-4511-8966-8D0174EA7D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9B3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2A6FC216-E0DE-4C93-A4F0-B22077ACD5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150" y="438147"/>
            <a:ext cx="11315699" cy="5981705"/>
          </a:xfrm>
          <a:prstGeom prst="rect">
            <a:avLst/>
          </a:prstGeom>
        </p:spPr>
      </p:pic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AD3A14DC-3FE2-4533-81E9-81477AFF7D0E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2793844" cy="247009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ZoneTexte 24">
            <a:extLst>
              <a:ext uri="{FF2B5EF4-FFF2-40B4-BE49-F238E27FC236}">
                <a16:creationId xmlns:a16="http://schemas.microsoft.com/office/drawing/2014/main" id="{26BEE9C3-DC7A-4A4B-A152-0EC2CEDB4B22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5" name="Connecteur droit 36">
            <a:extLst>
              <a:ext uri="{FF2B5EF4-FFF2-40B4-BE49-F238E27FC236}">
                <a16:creationId xmlns:a16="http://schemas.microsoft.com/office/drawing/2014/main" id="{52497CB7-8A87-41F9-8846-9984FE59E2F6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pic>
        <p:nvPicPr>
          <p:cNvPr id="17" name="Image 16" descr="Une image contenant texte&#10;&#10;Description générée automatiquement">
            <a:extLst>
              <a:ext uri="{FF2B5EF4-FFF2-40B4-BE49-F238E27FC236}">
                <a16:creationId xmlns:a16="http://schemas.microsoft.com/office/drawing/2014/main" id="{1805B297-F163-4D35-BD7F-33038E9D600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1964" y="6381492"/>
            <a:ext cx="1063837" cy="53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17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6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6A87946-7CA0-4F2C-8798-5FE9D6A2B9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5B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0E36795-D0D0-4145-9EE1-7CBE887F7A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150" y="438147"/>
            <a:ext cx="11315699" cy="5981705"/>
          </a:xfrm>
          <a:prstGeom prst="rect">
            <a:avLst/>
          </a:prstGeom>
        </p:spPr>
      </p:pic>
      <p:sp>
        <p:nvSpPr>
          <p:cNvPr id="12" name="ZoneTexte 24">
            <a:extLst>
              <a:ext uri="{FF2B5EF4-FFF2-40B4-BE49-F238E27FC236}">
                <a16:creationId xmlns:a16="http://schemas.microsoft.com/office/drawing/2014/main" id="{ECB967FF-05CB-47DB-B88C-31BCC1EBA2AA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3" name="Connecteur droit 36">
            <a:extLst>
              <a:ext uri="{FF2B5EF4-FFF2-40B4-BE49-F238E27FC236}">
                <a16:creationId xmlns:a16="http://schemas.microsoft.com/office/drawing/2014/main" id="{301D15B0-8DE0-443B-8F1A-8FDDAE0DA3B6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DDFD922A-3DEF-43E5-9216-7C8A4BC09A8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1964" y="6381492"/>
            <a:ext cx="1063837" cy="531600"/>
          </a:xfrm>
          <a:prstGeom prst="rect">
            <a:avLst/>
          </a:prstGeom>
        </p:spPr>
      </p:pic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0F7EF59D-F864-5562-FA93-370D98E6BC5F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6111624" cy="306346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35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8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A60DEA-4400-4EC9-999D-7C42BFB44C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8DC68BB7-AD0F-4138-865F-6991DC05D6A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8150" y="438147"/>
            <a:ext cx="11315699" cy="5981705"/>
          </a:xfrm>
          <a:prstGeom prst="rect">
            <a:avLst/>
          </a:prstGeom>
        </p:spPr>
      </p:pic>
      <p:sp>
        <p:nvSpPr>
          <p:cNvPr id="13" name="ZoneTexte 24">
            <a:extLst>
              <a:ext uri="{FF2B5EF4-FFF2-40B4-BE49-F238E27FC236}">
                <a16:creationId xmlns:a16="http://schemas.microsoft.com/office/drawing/2014/main" id="{4009FEB7-B8BB-40F9-B079-8EB28EFC0998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4" name="Connecteur droit 36">
            <a:extLst>
              <a:ext uri="{FF2B5EF4-FFF2-40B4-BE49-F238E27FC236}">
                <a16:creationId xmlns:a16="http://schemas.microsoft.com/office/drawing/2014/main" id="{C4096404-3E62-4079-AAF4-126F5D21D024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pic>
        <p:nvPicPr>
          <p:cNvPr id="9" name="Image 8" descr="Une image contenant texte&#10;&#10;Description générée automatiquement">
            <a:extLst>
              <a:ext uri="{FF2B5EF4-FFF2-40B4-BE49-F238E27FC236}">
                <a16:creationId xmlns:a16="http://schemas.microsoft.com/office/drawing/2014/main" id="{9A83342E-E4D1-4377-8ED6-EBF42AA1F90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1964" y="6381492"/>
            <a:ext cx="1063837" cy="531600"/>
          </a:xfrm>
          <a:prstGeom prst="rect">
            <a:avLst/>
          </a:prstGeom>
        </p:spPr>
      </p:pic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B716599C-E4A2-B8D1-A22E-1D302CC83BC6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6111624" cy="306346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4707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otion&#10;&#10;Description générée automatiquement">
            <a:extLst>
              <a:ext uri="{FF2B5EF4-FFF2-40B4-BE49-F238E27FC236}">
                <a16:creationId xmlns:a16="http://schemas.microsoft.com/office/drawing/2014/main" id="{BC05DECF-5E13-4F6B-A58A-C8D6042D4A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460" y="435319"/>
            <a:ext cx="11315699" cy="5987360"/>
          </a:xfrm>
          <a:prstGeom prst="rect">
            <a:avLst/>
          </a:prstGeom>
          <a:effectLst/>
        </p:spPr>
      </p:pic>
      <p:cxnSp>
        <p:nvCxnSpPr>
          <p:cNvPr id="9" name="Connecteur droit 36">
            <a:extLst>
              <a:ext uri="{FF2B5EF4-FFF2-40B4-BE49-F238E27FC236}">
                <a16:creationId xmlns:a16="http://schemas.microsoft.com/office/drawing/2014/main" id="{C2C29011-613E-4D43-89F6-1FF0D5316079}"/>
              </a:ext>
            </a:extLst>
          </p:cNvPr>
          <p:cNvCxnSpPr/>
          <p:nvPr userDrawn="1"/>
        </p:nvCxnSpPr>
        <p:spPr>
          <a:xfrm>
            <a:off x="1120567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pic>
        <p:nvPicPr>
          <p:cNvPr id="4" name="Grafik 3" descr="Ein Bild, das Text, Geschirr, Teller, ClipArt enthält.&#10;&#10;Automatisch generierte Beschreibung">
            <a:extLst>
              <a:ext uri="{FF2B5EF4-FFF2-40B4-BE49-F238E27FC236}">
                <a16:creationId xmlns:a16="http://schemas.microsoft.com/office/drawing/2014/main" id="{3BD4520F-D589-441A-9161-2068FCE839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610" y="812675"/>
            <a:ext cx="2355395" cy="897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35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11" r:id="rId2"/>
    <p:sldLayoutId id="2147483712" r:id="rId3"/>
    <p:sldLayoutId id="2147483713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que 7">
            <a:extLst>
              <a:ext uri="{FF2B5EF4-FFF2-40B4-BE49-F238E27FC236}">
                <a16:creationId xmlns:a16="http://schemas.microsoft.com/office/drawing/2014/main" id="{50B6EE17-55C0-48E4-8C8D-7D0D25F192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6121" y="438146"/>
            <a:ext cx="11315699" cy="5981705"/>
          </a:xfrm>
          <a:prstGeom prst="rect">
            <a:avLst/>
          </a:prstGeom>
        </p:spPr>
      </p:pic>
      <p:pic>
        <p:nvPicPr>
          <p:cNvPr id="9" name="Espace réservé du contenu 6" descr="Une image contenant texte, clipart, assiette, arts de la table&#10;&#10;Description générée automatiquement">
            <a:extLst>
              <a:ext uri="{FF2B5EF4-FFF2-40B4-BE49-F238E27FC236}">
                <a16:creationId xmlns:a16="http://schemas.microsoft.com/office/drawing/2014/main" id="{76829555-875F-48AA-9BCB-8A925D0F5EB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852" y="6461642"/>
            <a:ext cx="955317" cy="35388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90EB4BE-2730-4511-8966-8D0174EA7D1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9B3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2A6FC216-E0DE-4C93-A4F0-B22077ACD5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8150" y="438147"/>
            <a:ext cx="11315699" cy="5981705"/>
          </a:xfrm>
          <a:prstGeom prst="rect">
            <a:avLst/>
          </a:prstGeom>
        </p:spPr>
      </p:pic>
      <p:sp>
        <p:nvSpPr>
          <p:cNvPr id="14" name="ZoneTexte 24">
            <a:extLst>
              <a:ext uri="{FF2B5EF4-FFF2-40B4-BE49-F238E27FC236}">
                <a16:creationId xmlns:a16="http://schemas.microsoft.com/office/drawing/2014/main" id="{26BEE9C3-DC7A-4A4B-A152-0EC2CEDB4B22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15" name="Connecteur droit 36">
            <a:extLst>
              <a:ext uri="{FF2B5EF4-FFF2-40B4-BE49-F238E27FC236}">
                <a16:creationId xmlns:a16="http://schemas.microsoft.com/office/drawing/2014/main" id="{52497CB7-8A87-41F9-8846-9984FE59E2F6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pic>
        <p:nvPicPr>
          <p:cNvPr id="16" name="Image 2" descr="Une image contenant assiette, dessin&#10;&#10;Description générée automatiquement">
            <a:extLst>
              <a:ext uri="{FF2B5EF4-FFF2-40B4-BE49-F238E27FC236}">
                <a16:creationId xmlns:a16="http://schemas.microsoft.com/office/drawing/2014/main" id="{F68D467E-583E-4AB8-8BFE-EA5DD6BA08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6234"/>
          <a:stretch/>
        </p:blipFill>
        <p:spPr>
          <a:xfrm>
            <a:off x="11142274" y="6532424"/>
            <a:ext cx="647248" cy="264860"/>
          </a:xfrm>
          <a:prstGeom prst="rect">
            <a:avLst/>
          </a:prstGeom>
        </p:spPr>
      </p:pic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75AE458A-B4F0-862A-D576-6BD648C7B316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6111624" cy="306346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9221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otion&#10;&#10;Description générée automatiquement">
            <a:extLst>
              <a:ext uri="{FF2B5EF4-FFF2-40B4-BE49-F238E27FC236}">
                <a16:creationId xmlns:a16="http://schemas.microsoft.com/office/drawing/2014/main" id="{7FAF4D9A-B837-4EEF-A0F1-549409F26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  <a:effectLst/>
        </p:spPr>
      </p:pic>
      <p:pic>
        <p:nvPicPr>
          <p:cNvPr id="8" name="Graphique 7">
            <a:extLst>
              <a:ext uri="{FF2B5EF4-FFF2-40B4-BE49-F238E27FC236}">
                <a16:creationId xmlns:a16="http://schemas.microsoft.com/office/drawing/2014/main" id="{E5871FF0-E20F-444A-9A48-0341766B06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6121" y="438146"/>
            <a:ext cx="11315699" cy="5981705"/>
          </a:xfrm>
          <a:prstGeom prst="rect">
            <a:avLst/>
          </a:prstGeom>
        </p:spPr>
      </p:pic>
      <p:sp>
        <p:nvSpPr>
          <p:cNvPr id="5" name="ZoneTexte 24">
            <a:extLst>
              <a:ext uri="{FF2B5EF4-FFF2-40B4-BE49-F238E27FC236}">
                <a16:creationId xmlns:a16="http://schemas.microsoft.com/office/drawing/2014/main" id="{316FF3AE-9FA4-40B3-9812-EF1AC073E262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6" name="Connecteur droit 36">
            <a:extLst>
              <a:ext uri="{FF2B5EF4-FFF2-40B4-BE49-F238E27FC236}">
                <a16:creationId xmlns:a16="http://schemas.microsoft.com/office/drawing/2014/main" id="{AA7AEBD0-F6C7-4318-B622-2C34E2216771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D8FDEDE7-746C-4773-A193-84D787D21E20}"/>
              </a:ext>
            </a:extLst>
          </p:cNvPr>
          <p:cNvSpPr txBox="1">
            <a:spLocks/>
          </p:cNvSpPr>
          <p:nvPr userDrawn="1"/>
        </p:nvSpPr>
        <p:spPr>
          <a:xfrm>
            <a:off x="430373" y="6551652"/>
            <a:ext cx="5762895" cy="247009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" name="Titelplatzhalter 15">
            <a:extLst>
              <a:ext uri="{FF2B5EF4-FFF2-40B4-BE49-F238E27FC236}">
                <a16:creationId xmlns:a16="http://schemas.microsoft.com/office/drawing/2014/main" id="{C8EEE7C1-9CF3-4CA5-B3C4-E67A53E2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170" y="4341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434C462-B63F-4E46-AC5B-F8504D0F18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0" name="Grafik 9" descr="Ein Bild, das Text, Geschirr, Teller, ClipArt enthält.&#10;&#10;Automatisch generierte Beschreibung">
            <a:extLst>
              <a:ext uri="{FF2B5EF4-FFF2-40B4-BE49-F238E27FC236}">
                <a16:creationId xmlns:a16="http://schemas.microsoft.com/office/drawing/2014/main" id="{A7B4543A-0A84-497D-B63D-9E2862195B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730" y="6550657"/>
            <a:ext cx="643090" cy="245163"/>
          </a:xfrm>
          <a:prstGeom prst="rect">
            <a:avLst/>
          </a:prstGeom>
        </p:spPr>
      </p:pic>
      <p:sp>
        <p:nvSpPr>
          <p:cNvPr id="13" name="Espace réservé du texte 3">
            <a:extLst>
              <a:ext uri="{FF2B5EF4-FFF2-40B4-BE49-F238E27FC236}">
                <a16:creationId xmlns:a16="http://schemas.microsoft.com/office/drawing/2014/main" id="{6D331980-3F3A-90DB-EA18-ABD848D297A7}"/>
              </a:ext>
            </a:extLst>
          </p:cNvPr>
          <p:cNvSpPr txBox="1">
            <a:spLocks/>
          </p:cNvSpPr>
          <p:nvPr userDrawn="1"/>
        </p:nvSpPr>
        <p:spPr>
          <a:xfrm>
            <a:off x="349406" y="6551652"/>
            <a:ext cx="6111624" cy="306346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v-SE" sz="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nal – Storengy Hydrogen strategic roadmap</a:t>
            </a: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7572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A3F668F-3627-EEC7-E4AE-CD285E0E6F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853556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6" imgW="501" imgH="502" progId="TCLayout.ActiveDocument.1">
                  <p:embed/>
                </p:oleObj>
              </mc:Choice>
              <mc:Fallback>
                <p:oleObj name="Diapositive think-cell" r:id="rId26" imgW="501" imgH="502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A3F668F-3627-EEC7-E4AE-CD285E0E6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119EE23-6EF7-5147-AF29-3490EE02B0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44" y="390524"/>
            <a:ext cx="11001244" cy="89217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/>
              <a:t>Change </a:t>
            </a:r>
            <a:br>
              <a:rPr lang="fr-FR"/>
            </a:br>
            <a:r>
              <a:rPr lang="fr-FR"/>
              <a:t>the style of the </a:t>
            </a:r>
            <a:r>
              <a:rPr lang="fr-FR" err="1"/>
              <a:t>tit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1F0AB59-16C2-5F43-A50D-DDDE7B182C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890510"/>
            <a:ext cx="11318873" cy="4095953"/>
          </a:xfrm>
          <a:prstGeom prst="rect">
            <a:avLst/>
          </a:prstGeom>
          <a:noFill/>
        </p:spPr>
        <p:txBody>
          <a:bodyPr vert="horz" lIns="251999" tIns="251999" rIns="251999" bIns="251999" rtlCol="0">
            <a:noAutofit/>
          </a:bodyPr>
          <a:lstStyle/>
          <a:p>
            <a:pPr lvl="0"/>
            <a:r>
              <a:rPr lang="fr-FR"/>
              <a:t>Click to change the mask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813DFF9-488F-2547-9A31-469D757D49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23811" y="6240762"/>
            <a:ext cx="319139" cy="22671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lang="fr-FR" sz="1000" b="1" i="0" kern="1200" smtClean="0">
                <a:gradFill>
                  <a:gsLst>
                    <a:gs pos="56000">
                      <a:schemeClr val="accent1"/>
                    </a:gs>
                    <a:gs pos="98000">
                      <a:schemeClr val="accent2"/>
                    </a:gs>
                  </a:gsLst>
                  <a:lin ang="1800000" scaled="0"/>
                </a:gra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5B4A2616-67FD-244D-A9A6-1B1EB77FB7D4}" type="slidenum">
              <a:rPr lang="fr-FR" smtClean="0"/>
              <a:t>‹#›</a:t>
            </a:fld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FF0069B-276E-A74A-9AAC-82A3169AA9A0}"/>
              </a:ext>
            </a:extLst>
          </p:cNvPr>
          <p:cNvSpPr/>
          <p:nvPr userDrawn="1"/>
        </p:nvSpPr>
        <p:spPr>
          <a:xfrm>
            <a:off x="3056021" y="-1267326"/>
            <a:ext cx="45719" cy="1443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="0" i="0">
              <a:latin typeface="Arial" panose="020B0604020202020204" pitchFamily="34" charset="0"/>
            </a:endParaRPr>
          </a:p>
        </p:txBody>
      </p:sp>
      <p:sp>
        <p:nvSpPr>
          <p:cNvPr id="8" name="Demi-cadre 7">
            <a:extLst>
              <a:ext uri="{FF2B5EF4-FFF2-40B4-BE49-F238E27FC236}">
                <a16:creationId xmlns:a16="http://schemas.microsoft.com/office/drawing/2014/main" id="{06069F1D-3379-6889-7A26-0D27FBF5CC86}"/>
              </a:ext>
            </a:extLst>
          </p:cNvPr>
          <p:cNvSpPr/>
          <p:nvPr userDrawn="1"/>
        </p:nvSpPr>
        <p:spPr>
          <a:xfrm>
            <a:off x="0" y="0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Demi-cadre 8">
            <a:extLst>
              <a:ext uri="{FF2B5EF4-FFF2-40B4-BE49-F238E27FC236}">
                <a16:creationId xmlns:a16="http://schemas.microsoft.com/office/drawing/2014/main" id="{F2526582-56C1-AE66-0D0B-7912451D1822}"/>
              </a:ext>
            </a:extLst>
          </p:cNvPr>
          <p:cNvSpPr/>
          <p:nvPr userDrawn="1"/>
        </p:nvSpPr>
        <p:spPr>
          <a:xfrm rot="10800000">
            <a:off x="11212286" y="5986463"/>
            <a:ext cx="979714" cy="871537"/>
          </a:xfrm>
          <a:prstGeom prst="halfFrame">
            <a:avLst>
              <a:gd name="adj1" fmla="val 18345"/>
              <a:gd name="adj2" fmla="val 1763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A186EF8-DEE6-2EC3-B473-5094B55E219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9796" y="6038377"/>
            <a:ext cx="1022444" cy="386236"/>
          </a:xfrm>
          <a:prstGeom prst="rect">
            <a:avLst/>
          </a:prstGeom>
        </p:spPr>
      </p:pic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DBFDFE5-0555-7154-C37B-8512F9B952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7261" y="6240762"/>
            <a:ext cx="7410450" cy="226714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lang="fr-FR" sz="1000" b="0" i="0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2279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4" r:id="rId1"/>
    <p:sldLayoutId id="2147484105" r:id="rId2"/>
    <p:sldLayoutId id="2147484106" r:id="rId3"/>
    <p:sldLayoutId id="2147484107" r:id="rId4"/>
    <p:sldLayoutId id="2147484108" r:id="rId5"/>
    <p:sldLayoutId id="2147484109" r:id="rId6"/>
    <p:sldLayoutId id="2147484110" r:id="rId7"/>
    <p:sldLayoutId id="2147484111" r:id="rId8"/>
    <p:sldLayoutId id="2147484112" r:id="rId9"/>
    <p:sldLayoutId id="2147484113" r:id="rId10"/>
    <p:sldLayoutId id="2147484114" r:id="rId11"/>
    <p:sldLayoutId id="2147484115" r:id="rId12"/>
    <p:sldLayoutId id="2147484116" r:id="rId13"/>
    <p:sldLayoutId id="2147484117" r:id="rId14"/>
    <p:sldLayoutId id="2147484118" r:id="rId15"/>
    <p:sldLayoutId id="2147484119" r:id="rId16"/>
    <p:sldLayoutId id="2147484120" r:id="rId17"/>
    <p:sldLayoutId id="2147484121" r:id="rId18"/>
    <p:sldLayoutId id="2147484122" r:id="rId19"/>
    <p:sldLayoutId id="2147484125" r:id="rId20"/>
    <p:sldLayoutId id="2147484136" r:id="rId21"/>
    <p:sldLayoutId id="2147484137" r:id="rId22"/>
    <p:sldLayoutId id="2147484140" r:id="rId23"/>
  </p:sldLayoutIdLst>
  <p:hf sldNum="0"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2563" indent="-174625" algn="l" defTabSz="914400" rtl="0" eaLnBrk="1" latinLnBrk="0" hangingPunct="1">
        <a:lnSpc>
          <a:spcPct val="100000"/>
        </a:lnSpc>
        <a:spcBef>
          <a:spcPts val="1000"/>
        </a:spcBef>
        <a:buFontTx/>
        <a:buBlip>
          <a:blip r:embed="rId29"/>
        </a:buBlip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74625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9"/>
        </a:buBlip>
        <a:tabLst/>
        <a:defRPr sz="1800" b="1" i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446088" indent="-22383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46088" indent="-223838" algn="l" defTabSz="914400" rtl="0" eaLnBrk="1" latinLnBrk="0" hangingPunct="1">
        <a:lnSpc>
          <a:spcPct val="100000"/>
        </a:lnSpc>
        <a:spcBef>
          <a:spcPts val="500"/>
        </a:spcBef>
        <a:buFont typeface="+mj-lt"/>
        <a:buAutoNum type="arabicPeriod"/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46088" indent="-223838" algn="l" defTabSz="914400" rtl="0" eaLnBrk="1" latinLnBrk="0" hangingPunct="1">
        <a:lnSpc>
          <a:spcPct val="100000"/>
        </a:lnSpc>
        <a:spcBef>
          <a:spcPts val="500"/>
        </a:spcBef>
        <a:buFontTx/>
        <a:buBlip>
          <a:blip r:embed="rId29"/>
        </a:buBlip>
        <a:tabLst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4" pos="279">
          <p15:clr>
            <a:srgbClr val="F26B43"/>
          </p15:clr>
        </p15:guide>
        <p15:guide id="6" pos="7407">
          <p15:clr>
            <a:srgbClr val="F26B43"/>
          </p15:clr>
        </p15:guide>
        <p15:guide id="23" orient="horz" pos="3771">
          <p15:clr>
            <a:srgbClr val="F26B43"/>
          </p15:clr>
        </p15:guide>
        <p15:guide id="25" orient="horz" pos="270">
          <p15:clr>
            <a:srgbClr val="F26B43"/>
          </p15:clr>
        </p15:guide>
        <p15:guide id="26" orient="horz" pos="1188">
          <p15:clr>
            <a:srgbClr val="F26B43"/>
          </p15:clr>
        </p15:guide>
        <p15:guide id="31" orient="horz" pos="404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lotion&#10;&#10;Description générée automatiquement">
            <a:extLst>
              <a:ext uri="{FF2B5EF4-FFF2-40B4-BE49-F238E27FC236}">
                <a16:creationId xmlns:a16="http://schemas.microsoft.com/office/drawing/2014/main" id="{7FAF4D9A-B837-4EEF-A0F1-549409F266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6858001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4306904-B7DB-41F0-A429-241D22C240B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373" y="434161"/>
            <a:ext cx="11325506" cy="5985690"/>
          </a:xfrm>
          <a:prstGeom prst="rect">
            <a:avLst/>
          </a:prstGeom>
        </p:spPr>
      </p:pic>
      <p:sp>
        <p:nvSpPr>
          <p:cNvPr id="5" name="ZoneTexte 24">
            <a:extLst>
              <a:ext uri="{FF2B5EF4-FFF2-40B4-BE49-F238E27FC236}">
                <a16:creationId xmlns:a16="http://schemas.microsoft.com/office/drawing/2014/main" id="{316FF3AE-9FA4-40B3-9812-EF1AC073E262}"/>
              </a:ext>
            </a:extLst>
          </p:cNvPr>
          <p:cNvSpPr txBox="1"/>
          <p:nvPr userDrawn="1"/>
        </p:nvSpPr>
        <p:spPr>
          <a:xfrm>
            <a:off x="10758853" y="6550657"/>
            <a:ext cx="396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BA6A69F9-9927-BA4C-8172-0FD11CA5671D}" type="slidenum">
              <a:rPr lang="fr-FR" sz="800" b="1">
                <a:solidFill>
                  <a:schemeClr val="bg1"/>
                </a:solidFill>
                <a:latin typeface="Arial"/>
              </a:rPr>
              <a:pPr/>
              <a:t>‹#›</a:t>
            </a:fld>
            <a:endParaRPr lang="fr-FR" sz="800" b="1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6" name="Connecteur droit 36">
            <a:extLst>
              <a:ext uri="{FF2B5EF4-FFF2-40B4-BE49-F238E27FC236}">
                <a16:creationId xmlns:a16="http://schemas.microsoft.com/office/drawing/2014/main" id="{AA7AEBD0-F6C7-4318-B622-2C34E2216771}"/>
              </a:ext>
            </a:extLst>
          </p:cNvPr>
          <p:cNvCxnSpPr/>
          <p:nvPr userDrawn="1"/>
        </p:nvCxnSpPr>
        <p:spPr>
          <a:xfrm>
            <a:off x="11034221" y="6558304"/>
            <a:ext cx="0" cy="177977"/>
          </a:xfrm>
          <a:prstGeom prst="line">
            <a:avLst/>
          </a:prstGeom>
          <a:noFill/>
          <a:ln w="6350" cap="flat" cmpd="sng" algn="ctr">
            <a:gradFill flip="none" rotWithShape="1">
              <a:gsLst>
                <a:gs pos="0">
                  <a:sysClr val="window" lastClr="FFFFFF">
                    <a:alpha val="0"/>
                  </a:sysClr>
                </a:gs>
                <a:gs pos="51000">
                  <a:schemeClr val="bg1"/>
                </a:gs>
                <a:gs pos="100000">
                  <a:sysClr val="window" lastClr="FFFFFF">
                    <a:alpha val="0"/>
                  </a:sysClr>
                </a:gs>
              </a:gsLst>
              <a:lin ang="5400000" scaled="1"/>
              <a:tileRect/>
            </a:gradFill>
            <a:prstDash val="solid"/>
          </a:ln>
          <a:effectLst/>
        </p:spPr>
      </p:cxnSp>
      <p:sp>
        <p:nvSpPr>
          <p:cNvPr id="11" name="Espace réservé du texte 3">
            <a:extLst>
              <a:ext uri="{FF2B5EF4-FFF2-40B4-BE49-F238E27FC236}">
                <a16:creationId xmlns:a16="http://schemas.microsoft.com/office/drawing/2014/main" id="{D8FDEDE7-746C-4773-A193-84D787D21E20}"/>
              </a:ext>
            </a:extLst>
          </p:cNvPr>
          <p:cNvSpPr txBox="1">
            <a:spLocks/>
          </p:cNvSpPr>
          <p:nvPr userDrawn="1"/>
        </p:nvSpPr>
        <p:spPr>
          <a:xfrm>
            <a:off x="430373" y="6551652"/>
            <a:ext cx="5762895" cy="247009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FR" sz="8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Espace réservé du texte 3">
            <a:extLst>
              <a:ext uri="{FF2B5EF4-FFF2-40B4-BE49-F238E27FC236}">
                <a16:creationId xmlns:a16="http://schemas.microsoft.com/office/drawing/2014/main" id="{15FB85E8-49ED-42E4-905A-5B61985068D0}"/>
              </a:ext>
            </a:extLst>
          </p:cNvPr>
          <p:cNvSpPr txBox="1">
            <a:spLocks/>
          </p:cNvSpPr>
          <p:nvPr userDrawn="1"/>
        </p:nvSpPr>
        <p:spPr>
          <a:xfrm>
            <a:off x="349404" y="6492313"/>
            <a:ext cx="5181384" cy="243968"/>
          </a:xfrm>
          <a:prstGeom prst="rect">
            <a:avLst/>
          </a:prstGeom>
        </p:spPr>
        <p:txBody>
          <a:bodyPr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100" b="0" i="0" u="none" strike="noStrike" cap="none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/>
                <a:sym typeface="Arial"/>
              </a:rPr>
              <a:t>Hydrogen Technology Expo - Systems Integration &amp; Infrastructure – Salt Cavern Storage | 20 October 2022 - Bremen</a:t>
            </a:r>
          </a:p>
        </p:txBody>
      </p:sp>
      <p:sp>
        <p:nvSpPr>
          <p:cNvPr id="16" name="Titelplatzhalter 15">
            <a:extLst>
              <a:ext uri="{FF2B5EF4-FFF2-40B4-BE49-F238E27FC236}">
                <a16:creationId xmlns:a16="http://schemas.microsoft.com/office/drawing/2014/main" id="{C8EEE7C1-9CF3-4CA5-B3C4-E67A53E2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170" y="43416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F434C462-B63F-4E46-AC5B-F8504D0F18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2" name="Grafik 9" descr="Ein Bild, das Text, Geschirr, Teller, ClipArt enthält.&#10;&#10;Automatisch generierte Beschreibung">
            <a:extLst>
              <a:ext uri="{FF2B5EF4-FFF2-40B4-BE49-F238E27FC236}">
                <a16:creationId xmlns:a16="http://schemas.microsoft.com/office/drawing/2014/main" id="{A7B4543A-0A84-497D-B63D-9E2862195BE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8730" y="6550657"/>
            <a:ext cx="643090" cy="24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336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emf"/><Relationship Id="rId7" Type="http://schemas.openxmlformats.org/officeDocument/2006/relationships/image" Target="../media/image74.png"/><Relationship Id="rId12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jpe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3" Type="http://schemas.openxmlformats.org/officeDocument/2006/relationships/image" Target="../media/image70.emf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jpeg"/><Relationship Id="rId10" Type="http://schemas.openxmlformats.org/officeDocument/2006/relationships/image" Target="../media/image86.png"/><Relationship Id="rId4" Type="http://schemas.openxmlformats.org/officeDocument/2006/relationships/image" Target="../media/image80.png"/><Relationship Id="rId9" Type="http://schemas.openxmlformats.org/officeDocument/2006/relationships/image" Target="../media/image85.jpeg"/><Relationship Id="rId14" Type="http://schemas.openxmlformats.org/officeDocument/2006/relationships/image" Target="../media/image9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f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Relationship Id="rId4" Type="http://schemas.openxmlformats.org/officeDocument/2006/relationships/image" Target="../media/image70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20.sv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9.png"/><Relationship Id="rId11" Type="http://schemas.openxmlformats.org/officeDocument/2006/relationships/image" Target="../media/image12.pn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39.jpe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6.jpe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13" Type="http://schemas.openxmlformats.org/officeDocument/2006/relationships/image" Target="../media/image62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" Type="http://schemas.openxmlformats.org/officeDocument/2006/relationships/image" Target="../media/image52.png"/><Relationship Id="rId16" Type="http://schemas.openxmlformats.org/officeDocument/2006/relationships/image" Target="../media/image65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6.png"/><Relationship Id="rId11" Type="http://schemas.openxmlformats.org/officeDocument/2006/relationships/image" Target="../media/image60.png"/><Relationship Id="rId5" Type="http://schemas.openxmlformats.org/officeDocument/2006/relationships/image" Target="../media/image55.png"/><Relationship Id="rId15" Type="http://schemas.openxmlformats.org/officeDocument/2006/relationships/image" Target="../media/image64.png"/><Relationship Id="rId10" Type="http://schemas.openxmlformats.org/officeDocument/2006/relationships/image" Target="cid:image001.png@01D95127.66576C00" TargetMode="External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6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8680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816F50-2CC0-BF5F-BB55-66EE51974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322" y="481157"/>
            <a:ext cx="7938477" cy="701227"/>
          </a:xfrm>
        </p:spPr>
        <p:txBody>
          <a:bodyPr>
            <a:normAutofit fontScale="90000"/>
          </a:bodyPr>
          <a:lstStyle/>
          <a:p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A world-first </a:t>
            </a:r>
            <a:r>
              <a:rPr lang="fr-FR" sz="3200" dirty="0" err="1">
                <a:solidFill>
                  <a:srgbClr val="59B3C3"/>
                </a:solidFill>
                <a:latin typeface="+mn-lt"/>
                <a:ea typeface="+mj-ea"/>
                <a:cs typeface="+mj-cs"/>
              </a:rPr>
              <a:t>industrial</a:t>
            </a:r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 </a:t>
            </a:r>
            <a:r>
              <a:rPr lang="fr-FR" sz="3200" dirty="0" err="1">
                <a:solidFill>
                  <a:srgbClr val="59B3C3"/>
                </a:solidFill>
                <a:latin typeface="+mn-lt"/>
                <a:ea typeface="+mj-ea"/>
                <a:cs typeface="+mj-cs"/>
              </a:rPr>
              <a:t>scale</a:t>
            </a:r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 UHS project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984EF71-C1A8-88A3-72A6-6588C93F9D6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026" y="183544"/>
            <a:ext cx="3167398" cy="137448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F1228F3A-59CA-0C38-51EF-F6E480BCC6F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609" y="3845300"/>
            <a:ext cx="4230211" cy="2829156"/>
          </a:xfrm>
          <a:prstGeom prst="rect">
            <a:avLst/>
          </a:prstGeom>
        </p:spPr>
      </p:pic>
      <p:grpSp>
        <p:nvGrpSpPr>
          <p:cNvPr id="12" name="Groupe 11">
            <a:extLst>
              <a:ext uri="{FF2B5EF4-FFF2-40B4-BE49-F238E27FC236}">
                <a16:creationId xmlns:a16="http://schemas.microsoft.com/office/drawing/2014/main" id="{937FE852-840A-A8EA-F5F8-90D9041116AC}"/>
              </a:ext>
            </a:extLst>
          </p:cNvPr>
          <p:cNvGrpSpPr/>
          <p:nvPr/>
        </p:nvGrpSpPr>
        <p:grpSpPr>
          <a:xfrm>
            <a:off x="80554" y="1819139"/>
            <a:ext cx="2566232" cy="1703008"/>
            <a:chOff x="-885379" y="1658528"/>
            <a:chExt cx="2566232" cy="1703008"/>
          </a:xfrm>
        </p:grpSpPr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C5878DE0-C1FB-C1E6-CEAE-F3532D72EE1F}"/>
                </a:ext>
              </a:extLst>
            </p:cNvPr>
            <p:cNvSpPr txBox="1"/>
            <p:nvPr/>
          </p:nvSpPr>
          <p:spPr>
            <a:xfrm>
              <a:off x="-885379" y="1658528"/>
              <a:ext cx="256623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-site </a:t>
              </a: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newable</a:t>
              </a: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ectricity</a:t>
              </a: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roduc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1,9 MW </a:t>
              </a:r>
              <a:r>
                <a:rPr kumimoji="0" lang="fr-F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ar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lant </a:t>
              </a:r>
              <a:r>
                <a:rPr kumimoji="0" lang="fr-F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ject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</a:p>
          </p:txBody>
        </p:sp>
        <p:pic>
          <p:nvPicPr>
            <p:cNvPr id="14" name="Picture 12">
              <a:extLst>
                <a:ext uri="{FF2B5EF4-FFF2-40B4-BE49-F238E27FC236}">
                  <a16:creationId xmlns:a16="http://schemas.microsoft.com/office/drawing/2014/main" id="{90945AB2-20A4-0572-DE22-DA78E9BC49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307" y="2461952"/>
              <a:ext cx="899584" cy="899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52F103F7-4FCF-2F93-9158-41E4EE5A7297}"/>
              </a:ext>
            </a:extLst>
          </p:cNvPr>
          <p:cNvGrpSpPr/>
          <p:nvPr/>
        </p:nvGrpSpPr>
        <p:grpSpPr>
          <a:xfrm>
            <a:off x="2258286" y="1792376"/>
            <a:ext cx="2566232" cy="1710654"/>
            <a:chOff x="1390125" y="1551715"/>
            <a:chExt cx="2566232" cy="1710654"/>
          </a:xfrm>
        </p:grpSpPr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E1753A03-BF83-6684-582B-0F0496E1BD41}"/>
                </a:ext>
              </a:extLst>
            </p:cNvPr>
            <p:cNvSpPr txBox="1"/>
            <p:nvPr/>
          </p:nvSpPr>
          <p:spPr>
            <a:xfrm>
              <a:off x="1390125" y="1551715"/>
              <a:ext cx="256623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-site H</a:t>
              </a:r>
              <a:r>
                <a:rPr kumimoji="0" lang="fr-FR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duc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1 MW </a:t>
              </a:r>
              <a:r>
                <a:rPr kumimoji="0" lang="fr-F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lectrolyzer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fr-FR" sz="1400" b="0" i="0" u="none" strike="noStrike" kern="1200" cap="none" spc="0" normalizeH="0" baseline="-2500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7" name="Picture 14">
              <a:extLst>
                <a:ext uri="{FF2B5EF4-FFF2-40B4-BE49-F238E27FC236}">
                  <a16:creationId xmlns:a16="http://schemas.microsoft.com/office/drawing/2014/main" id="{D93A3144-DDF9-E9A2-6764-D3E96929EC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0864" y="2014343"/>
              <a:ext cx="1248026" cy="1248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8354738A-1220-C662-B904-34DAEBB0CB91}"/>
              </a:ext>
            </a:extLst>
          </p:cNvPr>
          <p:cNvGrpSpPr/>
          <p:nvPr/>
        </p:nvGrpSpPr>
        <p:grpSpPr>
          <a:xfrm>
            <a:off x="9245465" y="1819140"/>
            <a:ext cx="2101682" cy="1480931"/>
            <a:chOff x="8614803" y="3205823"/>
            <a:chExt cx="3156971" cy="2066126"/>
          </a:xfrm>
        </p:grpSpPr>
        <p:sp>
          <p:nvSpPr>
            <p:cNvPr id="20" name="ZoneTexte 19">
              <a:extLst>
                <a:ext uri="{FF2B5EF4-FFF2-40B4-BE49-F238E27FC236}">
                  <a16:creationId xmlns:a16="http://schemas.microsoft.com/office/drawing/2014/main" id="{8FC3F9B9-35C2-2D26-F89F-1C1C2290082E}"/>
                </a:ext>
              </a:extLst>
            </p:cNvPr>
            <p:cNvSpPr txBox="1"/>
            <p:nvPr/>
          </p:nvSpPr>
          <p:spPr>
            <a:xfrm>
              <a:off x="8846138" y="3205823"/>
              <a:ext cx="2773661" cy="729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</a:t>
              </a:r>
              <a:r>
                <a:rPr kumimoji="0" lang="fr-FR" sz="1400" b="1" i="0" u="none" strike="noStrike" kern="1200" cap="none" spc="0" normalizeH="0" baseline="-2500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r>
                <a:rPr kumimoji="0" lang="fr-FR" sz="14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fr-FR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umption</a:t>
              </a:r>
              <a:endParaRPr kumimoji="0" lang="fr-FR" sz="1400" b="0" i="0" u="none" strike="noStrike" kern="1200" cap="none" spc="0" normalizeH="0" baseline="-2500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</a:t>
              </a:r>
              <a:r>
                <a:rPr kumimoji="0" lang="fr-F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ustry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</a:t>
              </a:r>
              <a:r>
                <a:rPr kumimoji="0" lang="fr-FR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bility</a:t>
              </a:r>
              <a:r>
                <a:rPr kumimoji="0" lang="fr-FR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353A3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…) </a:t>
              </a: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5551435C-150E-4F84-B855-517B895289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4803" y="3788310"/>
              <a:ext cx="1483639" cy="14836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2">
              <a:extLst>
                <a:ext uri="{FF2B5EF4-FFF2-40B4-BE49-F238E27FC236}">
                  <a16:creationId xmlns:a16="http://schemas.microsoft.com/office/drawing/2014/main" id="{E6650F80-6BB0-51DF-A535-C6AEEF5F19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95204" y="3758245"/>
              <a:ext cx="1476570" cy="14722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ZoneTexte 22">
            <a:extLst>
              <a:ext uri="{FF2B5EF4-FFF2-40B4-BE49-F238E27FC236}">
                <a16:creationId xmlns:a16="http://schemas.microsoft.com/office/drawing/2014/main" id="{14FF139D-7DA4-0927-C3B6-BDF600CD089D}"/>
              </a:ext>
            </a:extLst>
          </p:cNvPr>
          <p:cNvSpPr txBox="1"/>
          <p:nvPr/>
        </p:nvSpPr>
        <p:spPr>
          <a:xfrm>
            <a:off x="4961362" y="1817846"/>
            <a:ext cx="29449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</a:t>
            </a:r>
            <a:r>
              <a:rPr kumimoji="0" lang="fr-FR" sz="1400" b="1" i="0" u="none" strike="noStrike" kern="1200" cap="none" spc="0" normalizeH="0" baseline="-2500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fr-FR" sz="1400" b="0" i="0" u="none" strike="noStrike" kern="1200" cap="none" spc="0" normalizeH="0" baseline="-2500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353A3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in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353A3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7D96B972-80CC-DEFB-5C8F-4758BD8900D6}"/>
              </a:ext>
            </a:extLst>
          </p:cNvPr>
          <p:cNvCxnSpPr>
            <a:cxnSpLocks/>
          </p:cNvCxnSpPr>
          <p:nvPr/>
        </p:nvCxnSpPr>
        <p:spPr>
          <a:xfrm>
            <a:off x="4293609" y="3012569"/>
            <a:ext cx="941106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Connecteur droit avec flèche 25">
            <a:extLst>
              <a:ext uri="{FF2B5EF4-FFF2-40B4-BE49-F238E27FC236}">
                <a16:creationId xmlns:a16="http://schemas.microsoft.com/office/drawing/2014/main" id="{043D1BF3-0F39-DAA4-E36A-6C1320EFA876}"/>
              </a:ext>
            </a:extLst>
          </p:cNvPr>
          <p:cNvCxnSpPr>
            <a:cxnSpLocks/>
          </p:cNvCxnSpPr>
          <p:nvPr/>
        </p:nvCxnSpPr>
        <p:spPr>
          <a:xfrm>
            <a:off x="2352431" y="3012567"/>
            <a:ext cx="565094" cy="2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FD1FDBF5-61DB-6D96-3EDD-37F8DDE8537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8289" y="2572680"/>
            <a:ext cx="1918617" cy="572258"/>
          </a:xfrm>
          <a:prstGeom prst="rect">
            <a:avLst/>
          </a:prstGeom>
        </p:spPr>
      </p:pic>
      <p:cxnSp>
        <p:nvCxnSpPr>
          <p:cNvPr id="58" name="Connecteur droit avec flèche 57">
            <a:extLst>
              <a:ext uri="{FF2B5EF4-FFF2-40B4-BE49-F238E27FC236}">
                <a16:creationId xmlns:a16="http://schemas.microsoft.com/office/drawing/2014/main" id="{D1B6CD28-8E79-01D0-0206-E1200344EB7D}"/>
              </a:ext>
            </a:extLst>
          </p:cNvPr>
          <p:cNvCxnSpPr>
            <a:cxnSpLocks/>
          </p:cNvCxnSpPr>
          <p:nvPr/>
        </p:nvCxnSpPr>
        <p:spPr>
          <a:xfrm>
            <a:off x="7826347" y="2932962"/>
            <a:ext cx="1221797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514BA628-0BDE-C097-60F0-288525ADEF99}"/>
              </a:ext>
            </a:extLst>
          </p:cNvPr>
          <p:cNvCxnSpPr>
            <a:cxnSpLocks/>
          </p:cNvCxnSpPr>
          <p:nvPr/>
        </p:nvCxnSpPr>
        <p:spPr>
          <a:xfrm>
            <a:off x="3308104" y="3646946"/>
            <a:ext cx="0" cy="521742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CE281F53-298E-6A8A-9229-E2CE19801601}"/>
              </a:ext>
            </a:extLst>
          </p:cNvPr>
          <p:cNvCxnSpPr>
            <a:cxnSpLocks/>
          </p:cNvCxnSpPr>
          <p:nvPr/>
        </p:nvCxnSpPr>
        <p:spPr>
          <a:xfrm flipV="1">
            <a:off x="3541402" y="3625962"/>
            <a:ext cx="0" cy="57142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5" name="ZoneTexte 64">
            <a:extLst>
              <a:ext uri="{FF2B5EF4-FFF2-40B4-BE49-F238E27FC236}">
                <a16:creationId xmlns:a16="http://schemas.microsoft.com/office/drawing/2014/main" id="{77AE287A-34F0-6896-B45B-1C8925BE4E99}"/>
              </a:ext>
            </a:extLst>
          </p:cNvPr>
          <p:cNvSpPr txBox="1"/>
          <p:nvPr/>
        </p:nvSpPr>
        <p:spPr>
          <a:xfrm>
            <a:off x="5865686" y="4258738"/>
            <a:ext cx="13707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ity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rod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4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Arial"/>
              </a:rPr>
              <a:t>(Fuel </a:t>
            </a:r>
            <a:r>
              <a:rPr lang="fr-FR" sz="1400" b="1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Arial"/>
              </a:rPr>
              <a:t>Cell</a:t>
            </a:r>
            <a:r>
              <a:rPr lang="fr-FR" sz="14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Arial"/>
              </a:rPr>
              <a:t>)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8" name="Picture 4" descr="Poteau électrique Banque d'images vectorielles - Alamy">
            <a:extLst>
              <a:ext uri="{FF2B5EF4-FFF2-40B4-BE49-F238E27FC236}">
                <a16:creationId xmlns:a16="http://schemas.microsoft.com/office/drawing/2014/main" id="{D40600FD-39C4-B259-A8D5-84333B60FF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54128" y="3542560"/>
            <a:ext cx="588991" cy="782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Connecteur droit avec flèche 69">
            <a:extLst>
              <a:ext uri="{FF2B5EF4-FFF2-40B4-BE49-F238E27FC236}">
                <a16:creationId xmlns:a16="http://schemas.microsoft.com/office/drawing/2014/main" id="{D4176AF7-0632-50B1-C8C6-1581158C7B14}"/>
              </a:ext>
            </a:extLst>
          </p:cNvPr>
          <p:cNvCxnSpPr>
            <a:cxnSpLocks/>
          </p:cNvCxnSpPr>
          <p:nvPr/>
        </p:nvCxnSpPr>
        <p:spPr>
          <a:xfrm>
            <a:off x="7825953" y="3857872"/>
            <a:ext cx="1222191" cy="0"/>
          </a:xfrm>
          <a:prstGeom prst="straightConnector1">
            <a:avLst/>
          </a:prstGeom>
          <a:ln w="38100">
            <a:solidFill>
              <a:schemeClr val="tx1">
                <a:lumMod val="40000"/>
                <a:lumOff val="60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ZoneTexte 70">
            <a:extLst>
              <a:ext uri="{FF2B5EF4-FFF2-40B4-BE49-F238E27FC236}">
                <a16:creationId xmlns:a16="http://schemas.microsoft.com/office/drawing/2014/main" id="{9F143E02-ADA1-3D7C-540A-9ECB5BE0F888}"/>
              </a:ext>
            </a:extLst>
          </p:cNvPr>
          <p:cNvSpPr txBox="1"/>
          <p:nvPr/>
        </p:nvSpPr>
        <p:spPr>
          <a:xfrm>
            <a:off x="8891696" y="4366758"/>
            <a:ext cx="29449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ity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id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3186000-DA92-F06C-87F8-D00C1E2B8152}"/>
              </a:ext>
            </a:extLst>
          </p:cNvPr>
          <p:cNvSpPr/>
          <p:nvPr/>
        </p:nvSpPr>
        <p:spPr>
          <a:xfrm>
            <a:off x="5650473" y="3441849"/>
            <a:ext cx="5842911" cy="1669406"/>
          </a:xfrm>
          <a:prstGeom prst="rect">
            <a:avLst/>
          </a:prstGeom>
          <a:noFill/>
          <a:ln>
            <a:solidFill>
              <a:schemeClr val="tx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470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8037A0A7-7759-69B2-49ED-5E2D02400F6E}"/>
              </a:ext>
            </a:extLst>
          </p:cNvPr>
          <p:cNvSpPr txBox="1"/>
          <p:nvPr/>
        </p:nvSpPr>
        <p:spPr>
          <a:xfrm>
            <a:off x="6811248" y="4832946"/>
            <a:ext cx="46823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i="1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</a:t>
            </a:r>
            <a:r>
              <a:rPr kumimoji="0" lang="fr-FR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FR" sz="1200" i="1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tional</a:t>
            </a:r>
            <a:r>
              <a:rPr kumimoji="0" lang="fr-FR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pplication (</a:t>
            </a:r>
            <a:r>
              <a:rPr kumimoji="0" lang="fr-FR" sz="1200" i="1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tly</a:t>
            </a:r>
            <a:r>
              <a:rPr kumimoji="0" lang="fr-FR" sz="12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ut of scope)</a:t>
            </a:r>
          </a:p>
        </p:txBody>
      </p:sp>
      <p:pic>
        <p:nvPicPr>
          <p:cNvPr id="1026" name="Picture 2" descr="Fuel cell - Free industry icons">
            <a:extLst>
              <a:ext uri="{FF2B5EF4-FFF2-40B4-BE49-F238E27FC236}">
                <a16:creationId xmlns:a16="http://schemas.microsoft.com/office/drawing/2014/main" id="{1EFEA42F-96BC-D820-B11F-37B64DF98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3017" y="3522147"/>
            <a:ext cx="736814" cy="736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1" name="Connecteur : en angle 80">
            <a:extLst>
              <a:ext uri="{FF2B5EF4-FFF2-40B4-BE49-F238E27FC236}">
                <a16:creationId xmlns:a16="http://schemas.microsoft.com/office/drawing/2014/main" id="{733705A4-74D9-CB4B-C6AF-0A8BF74CFA61}"/>
              </a:ext>
            </a:extLst>
          </p:cNvPr>
          <p:cNvCxnSpPr>
            <a:cxnSpLocks/>
          </p:cNvCxnSpPr>
          <p:nvPr/>
        </p:nvCxnSpPr>
        <p:spPr>
          <a:xfrm rot="16200000" flipH="1">
            <a:off x="4620410" y="3073572"/>
            <a:ext cx="696977" cy="574967"/>
          </a:xfrm>
          <a:prstGeom prst="bentConnector3">
            <a:avLst>
              <a:gd name="adj1" fmla="val 100460"/>
            </a:avLst>
          </a:prstGeom>
          <a:ln w="38100">
            <a:solidFill>
              <a:schemeClr val="tx1">
                <a:lumMod val="40000"/>
                <a:lumOff val="6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Image 87">
            <a:extLst>
              <a:ext uri="{FF2B5EF4-FFF2-40B4-BE49-F238E27FC236}">
                <a16:creationId xmlns:a16="http://schemas.microsoft.com/office/drawing/2014/main" id="{4FE65119-1366-20D5-53D0-A05003C3578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2013" y="5650058"/>
            <a:ext cx="3236042" cy="111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61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8816F50-2CC0-BF5F-BB55-66EE51974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322" y="481157"/>
            <a:ext cx="7938477" cy="701227"/>
          </a:xfrm>
        </p:spPr>
        <p:txBody>
          <a:bodyPr>
            <a:normAutofit fontScale="90000"/>
          </a:bodyPr>
          <a:lstStyle/>
          <a:p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A world-first </a:t>
            </a:r>
            <a:r>
              <a:rPr lang="fr-FR" sz="3200" dirty="0" err="1">
                <a:solidFill>
                  <a:srgbClr val="59B3C3"/>
                </a:solidFill>
                <a:latin typeface="+mn-lt"/>
                <a:ea typeface="+mj-ea"/>
                <a:cs typeface="+mj-cs"/>
              </a:rPr>
              <a:t>industrial</a:t>
            </a:r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 </a:t>
            </a:r>
            <a:r>
              <a:rPr lang="fr-FR" sz="3200" dirty="0" err="1">
                <a:solidFill>
                  <a:srgbClr val="59B3C3"/>
                </a:solidFill>
                <a:latin typeface="+mn-lt"/>
                <a:ea typeface="+mj-ea"/>
                <a:cs typeface="+mj-cs"/>
              </a:rPr>
              <a:t>scale</a:t>
            </a:r>
            <a:r>
              <a:rPr lang="fr-FR" sz="3200" dirty="0">
                <a:solidFill>
                  <a:srgbClr val="59B3C3"/>
                </a:solidFill>
                <a:latin typeface="+mn-lt"/>
                <a:ea typeface="+mj-ea"/>
                <a:cs typeface="+mj-cs"/>
              </a:rPr>
              <a:t> UHS project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D984EF71-C1A8-88A3-72A6-6588C93F9D6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026" y="183544"/>
            <a:ext cx="3167398" cy="1374487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36AD89E-F264-0B6C-0436-31DC817BB36D}"/>
              </a:ext>
            </a:extLst>
          </p:cNvPr>
          <p:cNvSpPr txBox="1"/>
          <p:nvPr/>
        </p:nvSpPr>
        <p:spPr>
          <a:xfrm>
            <a:off x="383510" y="1407128"/>
            <a:ext cx="8229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2E3A5B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Hy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drogen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2E3A5B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P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ilot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E3A5B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ST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orage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 for large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E3A5B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E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cosystem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E3A5B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R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83E357"/>
                </a:solidFill>
                <a:effectLst/>
                <a:uLnTx/>
                <a:uFillTx/>
                <a:latin typeface="Calibri"/>
                <a:ea typeface="Lato Medium" panose="020F0502020204030203" pitchFamily="34" charset="0"/>
                <a:cs typeface="Lato Medium" panose="020F0502020204030203" pitchFamily="34" charset="0"/>
              </a:rPr>
              <a:t>eplication</a:t>
            </a:r>
            <a:endParaRPr kumimoji="0" lang="fr-FR" sz="2000" b="0" i="0" u="none" strike="noStrike" kern="1200" cap="none" spc="0" normalizeH="0" baseline="0" noProof="0" dirty="0">
              <a:ln>
                <a:noFill/>
              </a:ln>
              <a:solidFill>
                <a:srgbClr val="2D3A5C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C44BC3B0-CAFA-98F2-95F2-1BC04AA05753}"/>
              </a:ext>
            </a:extLst>
          </p:cNvPr>
          <p:cNvSpPr txBox="1"/>
          <p:nvPr/>
        </p:nvSpPr>
        <p:spPr>
          <a:xfrm>
            <a:off x="526026" y="1945781"/>
            <a:ext cx="45434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cation :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rez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gas storage site (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an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2 production : 1 MW PEM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ctrolyzer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2 storage capacity 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 tons at R&amp;D stag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4 tons in commercial phase (start in 2026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66BABE65-2BFC-5E0E-01BF-E2F398418CFC}"/>
              </a:ext>
            </a:extLst>
          </p:cNvPr>
          <p:cNvSpPr txBox="1"/>
          <p:nvPr/>
        </p:nvSpPr>
        <p:spPr>
          <a:xfrm>
            <a:off x="485286" y="3471151"/>
            <a:ext cx="745769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s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dustrial-scal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newabl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hydrogen production and storage in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l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avern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tional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diness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r fast-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ycling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H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nk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o 100 cycle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rformed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in 3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th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llustrate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UHS valu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t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al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ale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+mj-lt"/>
              <a:buAutoNum type="arabicPeriod"/>
              <a:tabLst/>
              <a:defRPr/>
            </a:pP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ess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&amp;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conomical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producibility</a:t>
            </a:r>
            <a:r>
              <a:rPr kumimoji="0" lang="fr-F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 the process to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ites </a:t>
            </a:r>
            <a:r>
              <a:rPr kumimoji="0" lang="fr-FR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roughout</a:t>
            </a: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urope.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86DEB997-B6C4-040B-6EA7-75539D9692A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0024" y="4413693"/>
            <a:ext cx="896917" cy="382556"/>
          </a:xfrm>
          <a:prstGeom prst="rect">
            <a:avLst/>
          </a:prstGeom>
        </p:spPr>
      </p:pic>
      <p:sp>
        <p:nvSpPr>
          <p:cNvPr id="29" name="Rectangle : coins arrondis 28">
            <a:extLst>
              <a:ext uri="{FF2B5EF4-FFF2-40B4-BE49-F238E27FC236}">
                <a16:creationId xmlns:a16="http://schemas.microsoft.com/office/drawing/2014/main" id="{1390E153-1860-BBD0-2979-FB4C23CE6716}"/>
              </a:ext>
            </a:extLst>
          </p:cNvPr>
          <p:cNvSpPr/>
          <p:nvPr/>
        </p:nvSpPr>
        <p:spPr>
          <a:xfrm>
            <a:off x="9234116" y="1272654"/>
            <a:ext cx="2715084" cy="4706375"/>
          </a:xfrm>
          <a:prstGeom prst="roundRect">
            <a:avLst>
              <a:gd name="adj" fmla="val 4665"/>
            </a:avLst>
          </a:prstGeom>
          <a:noFill/>
          <a:ln w="28575" cap="flat" cmpd="sng" algn="ctr">
            <a:solidFill>
              <a:srgbClr val="2D3A5C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1200" cap="none" spc="0" normalizeH="0" baseline="0" noProof="0">
              <a:ln>
                <a:noFill/>
              </a:ln>
              <a:solidFill>
                <a:srgbClr val="00297A"/>
              </a:solidFill>
              <a:effectLst/>
              <a:uLnTx/>
              <a:uFillTx/>
              <a:latin typeface="Arial Nova" panose="020B0504020202020204" pitchFamily="34" charset="0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9050146-65AC-42BC-59BF-CDA20351180F}"/>
              </a:ext>
            </a:extLst>
          </p:cNvPr>
          <p:cNvSpPr/>
          <p:nvPr/>
        </p:nvSpPr>
        <p:spPr>
          <a:xfrm>
            <a:off x="9222759" y="1257467"/>
            <a:ext cx="2728876" cy="415853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ortium Partners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Picture 2" descr="Résultat de recherche d'images pour &quot;armines&quot;">
            <a:extLst>
              <a:ext uri="{FF2B5EF4-FFF2-40B4-BE49-F238E27FC236}">
                <a16:creationId xmlns:a16="http://schemas.microsoft.com/office/drawing/2014/main" id="{7CF48A94-AC3A-C626-2458-BE6D29FB20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8860" y="1954013"/>
            <a:ext cx="488081" cy="48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 descr="Résultat de recherche d'images pour &quot;esk gmbh&quot;">
            <a:extLst>
              <a:ext uri="{FF2B5EF4-FFF2-40B4-BE49-F238E27FC236}">
                <a16:creationId xmlns:a16="http://schemas.microsoft.com/office/drawing/2014/main" id="{9B691E16-04D2-1ADC-9843-FFAB48200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27675" y="2366997"/>
            <a:ext cx="851065" cy="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" descr="Résultat de recherche d'images pour &quot;element energy&quot;">
            <a:extLst>
              <a:ext uri="{FF2B5EF4-FFF2-40B4-BE49-F238E27FC236}">
                <a16:creationId xmlns:a16="http://schemas.microsoft.com/office/drawing/2014/main" id="{0C4A6484-6DED-D96F-564B-05245FFE7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31611" y="4004806"/>
            <a:ext cx="1600200" cy="25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0" descr="Résultat de recherche d'images pour &quot;Axelera&quot;">
            <a:extLst>
              <a:ext uri="{FF2B5EF4-FFF2-40B4-BE49-F238E27FC236}">
                <a16:creationId xmlns:a16="http://schemas.microsoft.com/office/drawing/2014/main" id="{EE5619D9-DDD5-EF09-C0C5-5C974A3958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91613" y="5031202"/>
            <a:ext cx="1007288" cy="212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4" descr="Résultat de recherche d'images pour &quot;inovyn&quot;">
            <a:extLst>
              <a:ext uri="{FF2B5EF4-FFF2-40B4-BE49-F238E27FC236}">
                <a16:creationId xmlns:a16="http://schemas.microsoft.com/office/drawing/2014/main" id="{1C5F513A-A20D-C403-4A18-E89550C69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65307" y="3305603"/>
            <a:ext cx="889247" cy="497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EFC454E-4C14-D288-68B3-9D82A931F35D}"/>
              </a:ext>
            </a:extLst>
          </p:cNvPr>
          <p:cNvSpPr/>
          <p:nvPr/>
        </p:nvSpPr>
        <p:spPr>
          <a:xfrm>
            <a:off x="9227996" y="1768865"/>
            <a:ext cx="2722559" cy="186904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2 &amp; Subsurface expertis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7635DC3-9244-20E7-542A-92041D67EEAD}"/>
              </a:ext>
            </a:extLst>
          </p:cNvPr>
          <p:cNvSpPr/>
          <p:nvPr/>
        </p:nvSpPr>
        <p:spPr>
          <a:xfrm>
            <a:off x="9226500" y="2668999"/>
            <a:ext cx="2722559" cy="15693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ulation &amp; Safety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9AE7EFF-1461-D59B-5D04-AE9E73FC140C}"/>
              </a:ext>
            </a:extLst>
          </p:cNvPr>
          <p:cNvSpPr/>
          <p:nvPr/>
        </p:nvSpPr>
        <p:spPr>
          <a:xfrm>
            <a:off x="9236469" y="3231219"/>
            <a:ext cx="2708600" cy="17780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rage replication potentia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8995AA8-8BB4-E43F-6029-9D2598A1920D}"/>
              </a:ext>
            </a:extLst>
          </p:cNvPr>
          <p:cNvSpPr/>
          <p:nvPr/>
        </p:nvSpPr>
        <p:spPr>
          <a:xfrm>
            <a:off x="9235901" y="3764987"/>
            <a:ext cx="2695455" cy="17731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ical and economic assessment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92984C2-82A2-0F94-37C0-19EAF1EF0487}"/>
              </a:ext>
            </a:extLst>
          </p:cNvPr>
          <p:cNvSpPr/>
          <p:nvPr/>
        </p:nvSpPr>
        <p:spPr>
          <a:xfrm>
            <a:off x="9243036" y="4804170"/>
            <a:ext cx="2708598" cy="15733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unication</a:t>
            </a:r>
          </a:p>
        </p:txBody>
      </p:sp>
      <p:pic>
        <p:nvPicPr>
          <p:cNvPr id="41" name="Image 40" descr="Une image contenant objet, horloge, mètre&#10;&#10;Description générée automatiquement">
            <a:extLst>
              <a:ext uri="{FF2B5EF4-FFF2-40B4-BE49-F238E27FC236}">
                <a16:creationId xmlns:a16="http://schemas.microsoft.com/office/drawing/2014/main" id="{875CBCDF-2B7E-9FDF-AE42-11B4D269EF1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19553" y="2083630"/>
            <a:ext cx="1010400" cy="240000"/>
          </a:xfrm>
          <a:prstGeom prst="rect">
            <a:avLst/>
          </a:prstGeom>
        </p:spPr>
      </p:pic>
      <p:pic>
        <p:nvPicPr>
          <p:cNvPr id="42" name="Picture 8" descr="Résultat de recherche d'images pour &quot;ineris&quot;">
            <a:extLst>
              <a:ext uri="{FF2B5EF4-FFF2-40B4-BE49-F238E27FC236}">
                <a16:creationId xmlns:a16="http://schemas.microsoft.com/office/drawing/2014/main" id="{CDED9AAD-9C70-9580-3E8B-773611D94E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8690" y="2894702"/>
            <a:ext cx="857723" cy="275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Image 42" descr="Une image contenant objet, horloge, mètre&#10;&#10;Description générée automatiquement">
            <a:extLst>
              <a:ext uri="{FF2B5EF4-FFF2-40B4-BE49-F238E27FC236}">
                <a16:creationId xmlns:a16="http://schemas.microsoft.com/office/drawing/2014/main" id="{BCEFBE26-5798-6186-651D-7473E9499E06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44338" y="3472898"/>
            <a:ext cx="1010400" cy="24000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F7ECD0A4-4073-FA6A-C1CD-5A1F38A20DF8}"/>
              </a:ext>
            </a:extLst>
          </p:cNvPr>
          <p:cNvSpPr/>
          <p:nvPr/>
        </p:nvSpPr>
        <p:spPr>
          <a:xfrm>
            <a:off x="9240602" y="5309757"/>
            <a:ext cx="2708598" cy="15733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rdination</a:t>
            </a:r>
            <a:endParaRPr kumimoji="0" lang="en-US" sz="933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5" name="Picture 6" descr="Résultat de recherche d'images pour &quot;element energy&quot;">
            <a:extLst>
              <a:ext uri="{FF2B5EF4-FFF2-40B4-BE49-F238E27FC236}">
                <a16:creationId xmlns:a16="http://schemas.microsoft.com/office/drawing/2014/main" id="{08AD7FF6-DB85-1B6F-E2C9-F63303C055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65991" y="5633862"/>
            <a:ext cx="1104770" cy="211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Image 45" descr="Une image contenant objet, horloge, mètre&#10;&#10;Description générée automatiquement">
            <a:extLst>
              <a:ext uri="{FF2B5EF4-FFF2-40B4-BE49-F238E27FC236}">
                <a16:creationId xmlns:a16="http://schemas.microsoft.com/office/drawing/2014/main" id="{D0689612-1DD8-2DD0-F20F-096EEB82195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39027" y="5519853"/>
            <a:ext cx="1248525" cy="31620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64E2316A-7BD5-7C78-9DCE-3AE66E2A807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4265" y="2328021"/>
            <a:ext cx="299301" cy="297581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3BEE0D4D-AE5B-B195-0D99-DCF4F0699BD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1086" y="2154045"/>
            <a:ext cx="525633" cy="344842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B31CEF71-8779-022A-9C71-E694D11BA9F0}"/>
              </a:ext>
            </a:extLst>
          </p:cNvPr>
          <p:cNvSpPr/>
          <p:nvPr/>
        </p:nvSpPr>
        <p:spPr>
          <a:xfrm>
            <a:off x="9222758" y="4242407"/>
            <a:ext cx="2708598" cy="157339"/>
          </a:xfrm>
          <a:prstGeom prst="rect">
            <a:avLst/>
          </a:prstGeom>
          <a:solidFill>
            <a:srgbClr val="2D3A5C"/>
          </a:solidFill>
          <a:ln>
            <a:solidFill>
              <a:srgbClr val="2D3A5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cteriology Purification</a:t>
            </a:r>
          </a:p>
        </p:txBody>
      </p: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EF9B4D87-E65F-17D3-EE5C-0346BD279980}"/>
              </a:ext>
            </a:extLst>
          </p:cNvPr>
          <p:cNvGrpSpPr/>
          <p:nvPr/>
        </p:nvGrpSpPr>
        <p:grpSpPr>
          <a:xfrm>
            <a:off x="380239" y="5243562"/>
            <a:ext cx="5188676" cy="1306172"/>
            <a:chOff x="4382249" y="2462572"/>
            <a:chExt cx="9172743" cy="1734157"/>
          </a:xfrm>
        </p:grpSpPr>
        <p:sp>
          <p:nvSpPr>
            <p:cNvPr id="51" name="ZoneTexte 50">
              <a:extLst>
                <a:ext uri="{FF2B5EF4-FFF2-40B4-BE49-F238E27FC236}">
                  <a16:creationId xmlns:a16="http://schemas.microsoft.com/office/drawing/2014/main" id="{936E5F39-813D-35FD-7C71-EF86061A2D7E}"/>
                </a:ext>
              </a:extLst>
            </p:cNvPr>
            <p:cNvSpPr txBox="1"/>
            <p:nvPr/>
          </p:nvSpPr>
          <p:spPr>
            <a:xfrm>
              <a:off x="5450999" y="2462572"/>
              <a:ext cx="1562100" cy="323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B3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1</a:t>
              </a: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9B3C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9F782895-0749-1846-EE8E-CD14F18C126E}"/>
                </a:ext>
              </a:extLst>
            </p:cNvPr>
            <p:cNvSpPr txBox="1"/>
            <p:nvPr/>
          </p:nvSpPr>
          <p:spPr>
            <a:xfrm>
              <a:off x="8283838" y="2462572"/>
              <a:ext cx="1562100" cy="3231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5B89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2</a:t>
              </a: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55B893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ZoneTexte 52">
              <a:extLst>
                <a:ext uri="{FF2B5EF4-FFF2-40B4-BE49-F238E27FC236}">
                  <a16:creationId xmlns:a16="http://schemas.microsoft.com/office/drawing/2014/main" id="{FEDDBAE2-52D4-1AD0-8FDF-AA3FA2FFD13E}"/>
                </a:ext>
              </a:extLst>
            </p:cNvPr>
            <p:cNvSpPr txBox="1"/>
            <p:nvPr/>
          </p:nvSpPr>
          <p:spPr>
            <a:xfrm>
              <a:off x="11235577" y="2490333"/>
              <a:ext cx="1562100" cy="3677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2023</a:t>
              </a:r>
              <a:endPara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grpSp>
          <p:nvGrpSpPr>
            <p:cNvPr id="54" name="Groupe 53">
              <a:extLst>
                <a:ext uri="{FF2B5EF4-FFF2-40B4-BE49-F238E27FC236}">
                  <a16:creationId xmlns:a16="http://schemas.microsoft.com/office/drawing/2014/main" id="{FBE5F4A1-3751-7517-844C-C7BE40DD1A27}"/>
                </a:ext>
              </a:extLst>
            </p:cNvPr>
            <p:cNvGrpSpPr/>
            <p:nvPr/>
          </p:nvGrpSpPr>
          <p:grpSpPr>
            <a:xfrm>
              <a:off x="4382249" y="2668428"/>
              <a:ext cx="9172743" cy="1528301"/>
              <a:chOff x="4382249" y="2668428"/>
              <a:chExt cx="9172743" cy="1528301"/>
            </a:xfrm>
          </p:grpSpPr>
          <p:sp>
            <p:nvSpPr>
              <p:cNvPr id="55" name="Flèche : chevron 54">
                <a:extLst>
                  <a:ext uri="{FF2B5EF4-FFF2-40B4-BE49-F238E27FC236}">
                    <a16:creationId xmlns:a16="http://schemas.microsoft.com/office/drawing/2014/main" id="{F5B0AD48-AAD4-242C-FFB2-8AB160E885AC}"/>
                  </a:ext>
                </a:extLst>
              </p:cNvPr>
              <p:cNvSpPr/>
              <p:nvPr/>
            </p:nvSpPr>
            <p:spPr>
              <a:xfrm>
                <a:off x="6932940" y="2794953"/>
                <a:ext cx="3711871" cy="1268094"/>
              </a:xfrm>
              <a:prstGeom prst="chevron">
                <a:avLst/>
              </a:prstGeom>
              <a:solidFill>
                <a:srgbClr val="55B893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5">
                  <a:hueOff val="-1692247"/>
                  <a:satOff val="12805"/>
                  <a:lumOff val="589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6" name="Flèche : chevron 6">
                <a:extLst>
                  <a:ext uri="{FF2B5EF4-FFF2-40B4-BE49-F238E27FC236}">
                    <a16:creationId xmlns:a16="http://schemas.microsoft.com/office/drawing/2014/main" id="{47732120-ECD9-E78B-853C-A4753511D7F0}"/>
                  </a:ext>
                </a:extLst>
              </p:cNvPr>
              <p:cNvSpPr txBox="1"/>
              <p:nvPr/>
            </p:nvSpPr>
            <p:spPr>
              <a:xfrm>
                <a:off x="7687804" y="2668428"/>
                <a:ext cx="2432161" cy="1487167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marL="0" marR="0" lvl="0" indent="0" algn="ctr" defTabSz="8890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 panose="020F0502020204030204" pitchFamily="34" charset="0"/>
                    <a:cs typeface="+mn-cs"/>
                  </a:rPr>
                  <a:t>Construction of H</a:t>
                </a:r>
                <a:r>
                  <a:rPr kumimoji="0" lang="fr-FR" sz="1100" b="0" i="0" u="none" strike="noStrike" kern="1200" cap="none" spc="0" normalizeH="0" baseline="-2500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 panose="020F0502020204030204" pitchFamily="34" charset="0"/>
                    <a:cs typeface="+mn-cs"/>
                  </a:rPr>
                  <a:t>2</a:t>
                </a:r>
                <a:r>
                  <a:rPr kumimoji="0" lang="fr-FR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Calibri" panose="020F0502020204030204" pitchFamily="34" charset="0"/>
                    <a:cs typeface="+mn-cs"/>
                  </a:rPr>
                  <a:t> production and storage facilities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ed Hat Display" panose="02010503040201060303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57" name="Groupe 56">
                <a:extLst>
                  <a:ext uri="{FF2B5EF4-FFF2-40B4-BE49-F238E27FC236}">
                    <a16:creationId xmlns:a16="http://schemas.microsoft.com/office/drawing/2014/main" id="{7852EA30-6959-5056-9797-A7075FCE63CA}"/>
                  </a:ext>
                </a:extLst>
              </p:cNvPr>
              <p:cNvGrpSpPr/>
              <p:nvPr/>
            </p:nvGrpSpPr>
            <p:grpSpPr>
              <a:xfrm>
                <a:off x="4382249" y="2671128"/>
                <a:ext cx="3170236" cy="1487169"/>
                <a:chOff x="2279265" y="-107580"/>
                <a:chExt cx="3170236" cy="1487169"/>
              </a:xfrm>
              <a:solidFill>
                <a:srgbClr val="59B3C3"/>
              </a:solidFill>
            </p:grpSpPr>
            <p:sp>
              <p:nvSpPr>
                <p:cNvPr id="61" name="Flèche : chevron 60">
                  <a:extLst>
                    <a:ext uri="{FF2B5EF4-FFF2-40B4-BE49-F238E27FC236}">
                      <a16:creationId xmlns:a16="http://schemas.microsoft.com/office/drawing/2014/main" id="{27D7ABF7-697E-A41E-EAC6-A017EEFABDF7}"/>
                    </a:ext>
                  </a:extLst>
                </p:cNvPr>
                <p:cNvSpPr/>
                <p:nvPr/>
              </p:nvSpPr>
              <p:spPr>
                <a:xfrm>
                  <a:off x="2279265" y="16245"/>
                  <a:ext cx="3170236" cy="1268094"/>
                </a:xfrm>
                <a:prstGeom prst="chevron">
                  <a:avLst/>
                </a:prstGeom>
                <a:grpFill/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5">
                    <a:hueOff val="-846124"/>
                    <a:satOff val="6403"/>
                    <a:lumOff val="295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62" name="Flèche : chevron 6">
                  <a:extLst>
                    <a:ext uri="{FF2B5EF4-FFF2-40B4-BE49-F238E27FC236}">
                      <a16:creationId xmlns:a16="http://schemas.microsoft.com/office/drawing/2014/main" id="{047D4D05-FA62-FCFE-8DB4-82CAF11607AD}"/>
                    </a:ext>
                  </a:extLst>
                </p:cNvPr>
                <p:cNvSpPr txBox="1"/>
                <p:nvPr/>
              </p:nvSpPr>
              <p:spPr>
                <a:xfrm>
                  <a:off x="2845603" y="-107580"/>
                  <a:ext cx="2297477" cy="1487169"/>
                </a:xfrm>
                <a:prstGeom prst="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80010" tIns="53340" rIns="26670" bIns="53340" numCol="1" spcCol="1270" anchor="ctr" anchorCtr="0">
                  <a:noAutofit/>
                </a:bodyPr>
                <a:lstStyle/>
                <a:p>
                  <a:pPr marL="0" marR="0" lvl="0" indent="0" algn="ctr" defTabSz="889000" rtl="0" eaLnBrk="1" fontAlgn="auto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fr-FR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Calibri" panose="020F0502020204030204" pitchFamily="34" charset="0"/>
                      <a:cs typeface="+mn-cs"/>
                    </a:rPr>
                    <a:t>Engineering studies</a:t>
                  </a:r>
                  <a:endPara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ed Hat Display" panose="02010503040201060303" pitchFamily="2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0" name="Flèche : chevron 6">
                <a:extLst>
                  <a:ext uri="{FF2B5EF4-FFF2-40B4-BE49-F238E27FC236}">
                    <a16:creationId xmlns:a16="http://schemas.microsoft.com/office/drawing/2014/main" id="{BD97332E-81B3-AAC7-6B25-54351595A3DB}"/>
                  </a:ext>
                </a:extLst>
              </p:cNvPr>
              <p:cNvSpPr txBox="1"/>
              <p:nvPr/>
            </p:nvSpPr>
            <p:spPr>
              <a:xfrm>
                <a:off x="10400752" y="2709560"/>
                <a:ext cx="3154240" cy="1487169"/>
              </a:xfrm>
              <a:prstGeom prst="rect">
                <a:avLst/>
              </a:prstGeom>
              <a:no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0010" tIns="53340" rIns="26670" bIns="53340" numCol="1" spcCol="1270" anchor="ctr" anchorCtr="0">
                <a:noAutofit/>
              </a:bodyPr>
              <a:lstStyle/>
              <a:p>
                <a:pPr marR="0" lvl="0" algn="ctr" defTabSz="8890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tabLst/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Commissioning Underground 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Calibri" panose="020F0502020204030204" pitchFamily="34" charset="0"/>
                    <a:cs typeface="+mn-cs"/>
                  </a:rPr>
                  <a:t>H</a:t>
                </a:r>
                <a:r>
                  <a:rPr kumimoji="0" lang="fr-FR" sz="1200" b="1" i="0" u="none" strike="noStrike" kern="1200" cap="none" spc="0" normalizeH="0" baseline="-2500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Calibri" panose="020F0502020204030204" pitchFamily="34" charset="0"/>
                    <a:cs typeface="+mn-cs"/>
                  </a:rPr>
                  <a:t>2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 fast-</a:t>
                </a:r>
                <a:r>
                  <a:rPr kumimoji="0" lang="fr-FR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cycling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 </a:t>
                </a:r>
                <a:r>
                  <a:rPr kumimoji="0" lang="fr-FR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experiment</a:t>
                </a:r>
                <a:endParaRPr lang="fr-FR" sz="1200" b="1" dirty="0">
                  <a:solidFill>
                    <a:schemeClr val="accent1"/>
                  </a:solidFill>
                  <a:latin typeface="+mj-lt"/>
                </a:endParaRPr>
              </a:p>
              <a:p>
                <a:pPr marR="0" lvl="0" algn="ctr" defTabSz="8890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tabLst/>
                  <a:defRPr/>
                </a:pP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+ 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Calibri" panose="020F0502020204030204" pitchFamily="34" charset="0"/>
                    <a:cs typeface="+mn-cs"/>
                  </a:rPr>
                  <a:t>H</a:t>
                </a:r>
                <a:r>
                  <a:rPr kumimoji="0" lang="fr-FR" sz="1200" b="1" i="0" u="none" strike="noStrike" kern="1200" cap="none" spc="0" normalizeH="0" baseline="-2500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Calibri" panose="020F0502020204030204" pitchFamily="34" charset="0"/>
                    <a:cs typeface="+mn-cs"/>
                  </a:rPr>
                  <a:t>2 </a:t>
                </a:r>
                <a:r>
                  <a:rPr kumimoji="0" lang="fr-FR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ea typeface="+mn-ea"/>
                    <a:cs typeface="+mn-cs"/>
                  </a:rPr>
                  <a:t>Production</a:t>
                </a:r>
                <a:endPara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</p:grpSp>
      <p:sp>
        <p:nvSpPr>
          <p:cNvPr id="66" name="ZoneTexte 65">
            <a:extLst>
              <a:ext uri="{FF2B5EF4-FFF2-40B4-BE49-F238E27FC236}">
                <a16:creationId xmlns:a16="http://schemas.microsoft.com/office/drawing/2014/main" id="{6807A34F-167C-35FE-2EC2-FF73483194D2}"/>
              </a:ext>
            </a:extLst>
          </p:cNvPr>
          <p:cNvSpPr txBox="1"/>
          <p:nvPr/>
        </p:nvSpPr>
        <p:spPr>
          <a:xfrm>
            <a:off x="4428842" y="1988331"/>
            <a:ext cx="37320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tal budget : 13 M€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 partners from 4 count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B4C2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M€ funding from Clean Hydrogen Partnership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98092892-9699-36E5-F90A-04810EF77E99}"/>
              </a:ext>
            </a:extLst>
          </p:cNvPr>
          <p:cNvSpPr txBox="1"/>
          <p:nvPr/>
        </p:nvSpPr>
        <p:spPr>
          <a:xfrm>
            <a:off x="-39665" y="6549734"/>
            <a:ext cx="111385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his project has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received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funding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from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the Fuel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Cells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and Hydrogen 2 Joint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Undertaking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(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now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Clean Hydrogen Partnership)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under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Grant Agreement No 101006751. This Joint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Undertaking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receives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support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from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the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European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Union’s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Horizon 2020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Research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and Innovation programme, Hydrogen Europe and Hydrogen Europe </a:t>
            </a:r>
            <a:r>
              <a:rPr kumimoji="0" lang="fr-F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Research</a:t>
            </a:r>
            <a:r>
              <a:rPr kumimoji="0" lang="fr-FR" sz="800" b="0" i="1" u="none" strike="noStrike" kern="1200" cap="none" spc="0" normalizeH="0" baseline="0" noProof="0" dirty="0">
                <a:ln>
                  <a:noFill/>
                </a:ln>
                <a:solidFill>
                  <a:srgbClr val="555555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.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B6C847CF-2D5D-EB4A-27AD-06A8B50F477E}"/>
              </a:ext>
            </a:extLst>
          </p:cNvPr>
          <p:cNvSpPr txBox="1"/>
          <p:nvPr/>
        </p:nvSpPr>
        <p:spPr>
          <a:xfrm>
            <a:off x="465257" y="3064911"/>
            <a:ext cx="19997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2E3A5B"/>
                </a:solidFill>
                <a:latin typeface="Red Hat Display" panose="02010503040201060303" pitchFamily="2" charset="77"/>
                <a:ea typeface="Lato Medium" panose="020F0502020204030203" pitchFamily="34" charset="0"/>
                <a:cs typeface="Lato Medium" panose="020F0502020204030203" pitchFamily="34" charset="0"/>
              </a:rPr>
              <a:t>O</a:t>
            </a:r>
            <a:r>
              <a:rPr lang="fr-FR" sz="2000" b="1" dirty="0">
                <a:solidFill>
                  <a:srgbClr val="83E357"/>
                </a:solidFill>
                <a:latin typeface="Red Hat Display" panose="02010503040201060303" pitchFamily="2" charset="77"/>
                <a:ea typeface="Lato Medium" panose="020F0502020204030203" pitchFamily="34" charset="0"/>
                <a:cs typeface="Lato Medium" panose="020F0502020204030203" pitchFamily="34" charset="0"/>
              </a:rPr>
              <a:t>bjectives</a:t>
            </a:r>
          </a:p>
        </p:txBody>
      </p:sp>
      <p:sp>
        <p:nvSpPr>
          <p:cNvPr id="5" name="Flèche : chevron 4">
            <a:extLst>
              <a:ext uri="{FF2B5EF4-FFF2-40B4-BE49-F238E27FC236}">
                <a16:creationId xmlns:a16="http://schemas.microsoft.com/office/drawing/2014/main" id="{3A40F2DA-1C51-85B3-74F8-DECF217897C6}"/>
              </a:ext>
            </a:extLst>
          </p:cNvPr>
          <p:cNvSpPr/>
          <p:nvPr/>
        </p:nvSpPr>
        <p:spPr>
          <a:xfrm>
            <a:off x="5408904" y="5494284"/>
            <a:ext cx="2325686" cy="955132"/>
          </a:xfrm>
          <a:prstGeom prst="chevron">
            <a:avLst/>
          </a:prstGeom>
          <a:solidFill>
            <a:srgbClr val="71B85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846124"/>
              <a:satOff val="6403"/>
              <a:lumOff val="295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lèche : chevron 6">
            <a:extLst>
              <a:ext uri="{FF2B5EF4-FFF2-40B4-BE49-F238E27FC236}">
                <a16:creationId xmlns:a16="http://schemas.microsoft.com/office/drawing/2014/main" id="{22E5C7E9-61FB-A8F9-2B1B-F098520B72A8}"/>
              </a:ext>
            </a:extLst>
          </p:cNvPr>
          <p:cNvSpPr txBox="1"/>
          <p:nvPr/>
        </p:nvSpPr>
        <p:spPr>
          <a:xfrm>
            <a:off x="6022388" y="5387583"/>
            <a:ext cx="1397195" cy="112014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0010" tIns="53340" rIns="26670" bIns="53340" numCol="1" spcCol="1270" anchor="ctr" anchorCtr="0">
            <a:noAutofit/>
          </a:bodyPr>
          <a:lstStyle/>
          <a:p>
            <a:pPr marR="0" lvl="0" algn="l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truction full-</a:t>
            </a:r>
            <a:r>
              <a:rPr kumimoji="0" lang="fr-FR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a</a:t>
            </a:r>
            <a:r>
              <a:rPr lang="fr-FR" sz="1100" dirty="0">
                <a:solidFill>
                  <a:prstClr val="white"/>
                </a:solidFill>
                <a:latin typeface="Arial" panose="020B0604020202020204" pitchFamily="34" charset="0"/>
              </a:rPr>
              <a:t>le surface </a:t>
            </a:r>
            <a:r>
              <a:rPr lang="fr-FR" sz="1100" dirty="0" err="1">
                <a:solidFill>
                  <a:prstClr val="white"/>
                </a:solidFill>
                <a:latin typeface="Arial" panose="020B0604020202020204" pitchFamily="34" charset="0"/>
              </a:rPr>
              <a:t>facilities</a:t>
            </a:r>
            <a:r>
              <a:rPr lang="fr-FR" sz="1100" dirty="0">
                <a:solidFill>
                  <a:prstClr val="white"/>
                </a:solidFill>
                <a:latin typeface="Arial" panose="020B0604020202020204" pitchFamily="34" charset="0"/>
              </a:rPr>
              <a:t> + tube trailer </a:t>
            </a:r>
            <a:r>
              <a:rPr lang="fr-FR" sz="1100" dirty="0" err="1">
                <a:solidFill>
                  <a:prstClr val="white"/>
                </a:solidFill>
                <a:latin typeface="Arial" panose="020B0604020202020204" pitchFamily="34" charset="0"/>
              </a:rPr>
              <a:t>loading</a:t>
            </a:r>
            <a:r>
              <a:rPr lang="fr-FR" sz="1100" dirty="0">
                <a:solidFill>
                  <a:prstClr val="white"/>
                </a:solidFill>
                <a:latin typeface="Arial" panose="020B0604020202020204" pitchFamily="34" charset="0"/>
              </a:rPr>
              <a:t> dock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364D74B-EAD2-4C5B-3DDB-F71F7AFF5B53}"/>
              </a:ext>
            </a:extLst>
          </p:cNvPr>
          <p:cNvSpPr txBox="1"/>
          <p:nvPr/>
        </p:nvSpPr>
        <p:spPr>
          <a:xfrm>
            <a:off x="6200484" y="5266726"/>
            <a:ext cx="8836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71B85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4 - 2025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1B85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lèche : chevron 6">
            <a:extLst>
              <a:ext uri="{FF2B5EF4-FFF2-40B4-BE49-F238E27FC236}">
                <a16:creationId xmlns:a16="http://schemas.microsoft.com/office/drawing/2014/main" id="{D93C2C46-E66F-E9D0-B719-4EBD084DD061}"/>
              </a:ext>
            </a:extLst>
          </p:cNvPr>
          <p:cNvSpPr txBox="1"/>
          <p:nvPr/>
        </p:nvSpPr>
        <p:spPr>
          <a:xfrm>
            <a:off x="7745947" y="5216279"/>
            <a:ext cx="1397195" cy="112014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0010" tIns="53340" rIns="26670" bIns="53340" numCol="1" spcCol="1270" anchor="ctr" anchorCtr="0">
            <a:noAutofit/>
          </a:bodyPr>
          <a:lstStyle/>
          <a:p>
            <a:pPr marR="0" lvl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6</a:t>
            </a:r>
          </a:p>
          <a:p>
            <a:pPr marR="0" lvl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R="0" lvl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mmissioning full-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cale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commercial pilot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4708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ciel, plein air, terrain, sol&#10;&#10;Description générée automatiquement">
            <a:extLst>
              <a:ext uri="{FF2B5EF4-FFF2-40B4-BE49-F238E27FC236}">
                <a16:creationId xmlns:a16="http://schemas.microsoft.com/office/drawing/2014/main" id="{963D6B2A-73BB-373B-A115-00D8724EB3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61" y="1413680"/>
            <a:ext cx="6768027" cy="507602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C4AE499-9209-2418-10DC-ED5E2F6662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961" y="105456"/>
            <a:ext cx="3167398" cy="1374487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88295B3B-7509-0A8A-411B-ED0BFB820F63}"/>
              </a:ext>
            </a:extLst>
          </p:cNvPr>
          <p:cNvSpPr txBox="1"/>
          <p:nvPr/>
        </p:nvSpPr>
        <p:spPr>
          <a:xfrm>
            <a:off x="7384560" y="1413680"/>
            <a:ext cx="4481008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sz="18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pril - Workover to install H2-ready completion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 – completion tested &amp; operational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June - Installation of compressor &amp; buffer tank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July - Installation of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lectrolyser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ugust - Preparation for cycling: brine tank, pump…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September - The first injection of H2 &amp; project inauguratio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November – cycling test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February, 2024 – End of phase 1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fr-FR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AAE49DBC-AE91-B100-375D-E68274FA6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5322" y="481157"/>
            <a:ext cx="7938477" cy="701227"/>
          </a:xfrm>
        </p:spPr>
        <p:txBody>
          <a:bodyPr>
            <a:normAutofit/>
          </a:bodyPr>
          <a:lstStyle/>
          <a:p>
            <a:r>
              <a:rPr lang="fr-FR" sz="3200" b="1" dirty="0">
                <a:solidFill>
                  <a:srgbClr val="59B3C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  <a:endParaRPr lang="fr-FR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7415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48CEB066-E002-607A-07DA-72C6AE5595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80BE6C1-6A74-03D6-DEBC-07DC8A967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C9AB557-54BC-C408-0820-FCC2008DFF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2290" name="Picture 2" descr="Simon Sinek Quote: “The responsibility of leadership is not to come up with  all the ideas but to create an environment in which great ideas ...”">
            <a:extLst>
              <a:ext uri="{FF2B5EF4-FFF2-40B4-BE49-F238E27FC236}">
                <a16:creationId xmlns:a16="http://schemas.microsoft.com/office/drawing/2014/main" id="{35370F06-F6CB-23F0-AA08-985514F82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1"/>
            <a:ext cx="12462933" cy="701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233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368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1EE16A8-5D9C-9052-43D7-86266813432D}"/>
              </a:ext>
            </a:extLst>
          </p:cNvPr>
          <p:cNvSpPr/>
          <p:nvPr/>
        </p:nvSpPr>
        <p:spPr>
          <a:xfrm>
            <a:off x="390388" y="1282700"/>
            <a:ext cx="3454824" cy="4419600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690E99A9-9216-E8A4-BA50-54BBB70A7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6542" y="390524"/>
            <a:ext cx="11001244" cy="52698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sz="2400" dirty="0"/>
              <a:t>Storengy CH4 </a:t>
            </a:r>
            <a:r>
              <a:rPr lang="fr-FR" sz="2400" dirty="0" err="1"/>
              <a:t>storage</a:t>
            </a:r>
            <a:r>
              <a:rPr lang="fr-FR" sz="2400" dirty="0"/>
              <a:t> </a:t>
            </a:r>
            <a:r>
              <a:rPr lang="fr-FR" sz="2400" dirty="0" err="1"/>
              <a:t>facilities</a:t>
            </a:r>
            <a:endParaRPr lang="fr-FR" sz="2400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B63AAA-9A39-E0B5-BE8C-528EA4E2B1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2636" y="1220634"/>
            <a:ext cx="3461484" cy="617910"/>
          </a:xfrm>
        </p:spPr>
        <p:txBody>
          <a:bodyPr/>
          <a:lstStyle/>
          <a:p>
            <a:pPr lvl="1"/>
            <a:r>
              <a:rPr lang="fr-FR"/>
              <a:t>France</a:t>
            </a:r>
          </a:p>
          <a:p>
            <a:pPr marL="7938" indent="0">
              <a:buNone/>
            </a:pPr>
            <a:endParaRPr lang="fr-FR"/>
          </a:p>
          <a:p>
            <a:pPr lvl="1"/>
            <a:endParaRPr lang="fr-FR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98EA38F-6974-4A75-4F15-DAC163DB3F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863" y="255580"/>
            <a:ext cx="615957" cy="615957"/>
          </a:xfrm>
          <a:prstGeom prst="rect">
            <a:avLst/>
          </a:prstGeom>
        </p:spPr>
      </p:pic>
      <p:sp>
        <p:nvSpPr>
          <p:cNvPr id="54" name="ZoneTexte 53">
            <a:extLst>
              <a:ext uri="{FF2B5EF4-FFF2-40B4-BE49-F238E27FC236}">
                <a16:creationId xmlns:a16="http://schemas.microsoft.com/office/drawing/2014/main" id="{2C7879BA-C92C-2186-E4ED-90CBF1AD50B0}"/>
              </a:ext>
            </a:extLst>
          </p:cNvPr>
          <p:cNvSpPr txBox="1"/>
          <p:nvPr/>
        </p:nvSpPr>
        <p:spPr>
          <a:xfrm>
            <a:off x="638750" y="6153220"/>
            <a:ext cx="15067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/>
              <a:t>Aquifers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6F3454BE-110B-5E13-B686-8EA5A4F33633}"/>
              </a:ext>
            </a:extLst>
          </p:cNvPr>
          <p:cNvSpPr txBox="1"/>
          <p:nvPr/>
        </p:nvSpPr>
        <p:spPr>
          <a:xfrm>
            <a:off x="2092828" y="6153220"/>
            <a:ext cx="14584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 dirty="0"/>
              <a:t>Salt </a:t>
            </a:r>
            <a:r>
              <a:rPr lang="fr-FR" sz="1200" b="1" dirty="0" err="1"/>
              <a:t>caverns</a:t>
            </a:r>
            <a:endParaRPr lang="fr-FR" sz="1200" b="1" dirty="0"/>
          </a:p>
        </p:txBody>
      </p:sp>
      <p:sp>
        <p:nvSpPr>
          <p:cNvPr id="78" name="ZoneTexte 77">
            <a:extLst>
              <a:ext uri="{FF2B5EF4-FFF2-40B4-BE49-F238E27FC236}">
                <a16:creationId xmlns:a16="http://schemas.microsoft.com/office/drawing/2014/main" id="{D63D5BF0-4800-504E-78F6-C3C058CFF304}"/>
              </a:ext>
            </a:extLst>
          </p:cNvPr>
          <p:cNvSpPr txBox="1"/>
          <p:nvPr/>
        </p:nvSpPr>
        <p:spPr>
          <a:xfrm>
            <a:off x="3601635" y="6153220"/>
            <a:ext cx="17444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b="1" dirty="0" err="1"/>
              <a:t>Depleted</a:t>
            </a:r>
            <a:r>
              <a:rPr lang="fr-FR" sz="1200" b="1" dirty="0"/>
              <a:t> </a:t>
            </a:r>
            <a:r>
              <a:rPr lang="fr-FR" sz="1200" b="1" dirty="0" err="1"/>
              <a:t>fields</a:t>
            </a:r>
            <a:endParaRPr lang="fr-FR" sz="1200" b="1" dirty="0"/>
          </a:p>
        </p:txBody>
      </p:sp>
      <p:sp>
        <p:nvSpPr>
          <p:cNvPr id="279" name="ZoneTexte 278">
            <a:extLst>
              <a:ext uri="{FF2B5EF4-FFF2-40B4-BE49-F238E27FC236}">
                <a16:creationId xmlns:a16="http://schemas.microsoft.com/office/drawing/2014/main" id="{99A352D5-6973-2E92-450E-4D0B7C805196}"/>
              </a:ext>
            </a:extLst>
          </p:cNvPr>
          <p:cNvSpPr txBox="1"/>
          <p:nvPr/>
        </p:nvSpPr>
        <p:spPr>
          <a:xfrm>
            <a:off x="6153134" y="5968553"/>
            <a:ext cx="41407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/>
              <a:t>The sites of Soings-en-Sologne, Trois-Fontaines-l'Abbaye </a:t>
            </a:r>
            <a:r>
              <a:rPr lang="fr-FR" sz="1000" dirty="0"/>
              <a:t>and Saint-Clair-sur-Epte are in </a:t>
            </a:r>
            <a:r>
              <a:rPr lang="fr-FR" sz="1000" dirty="0" err="1"/>
              <a:t>reduced</a:t>
            </a:r>
            <a:r>
              <a:rPr lang="fr-FR" sz="1000" dirty="0"/>
              <a:t> </a:t>
            </a:r>
            <a:r>
              <a:rPr lang="fr-FR" sz="1000" dirty="0" err="1"/>
              <a:t>activity</a:t>
            </a:r>
            <a:r>
              <a:rPr lang="fr-FR" sz="1000" dirty="0"/>
              <a:t>.</a:t>
            </a:r>
            <a:endParaRPr lang="fr-FR" sz="800" dirty="0"/>
          </a:p>
          <a:p>
            <a:br>
              <a:rPr lang="fr-FR" sz="800" dirty="0"/>
            </a:br>
            <a:r>
              <a:rPr lang="fr-FR" sz="800" dirty="0"/>
              <a:t>* 50% </a:t>
            </a:r>
            <a:r>
              <a:rPr lang="fr-FR" sz="800" dirty="0" err="1"/>
              <a:t>stake</a:t>
            </a:r>
            <a:r>
              <a:rPr lang="fr-FR" sz="800" dirty="0"/>
              <a:t> in </a:t>
            </a:r>
            <a:r>
              <a:rPr lang="fr-FR" sz="800" dirty="0" err="1"/>
              <a:t>Géométhane</a:t>
            </a:r>
            <a:r>
              <a:rPr lang="fr-FR" sz="800" dirty="0"/>
              <a:t> and </a:t>
            </a:r>
            <a:r>
              <a:rPr lang="fr-FR" sz="800" dirty="0" err="1"/>
              <a:t>operation</a:t>
            </a:r>
            <a:r>
              <a:rPr lang="fr-FR" sz="800" dirty="0"/>
              <a:t> of the site</a:t>
            </a:r>
          </a:p>
        </p:txBody>
      </p:sp>
      <p:pic>
        <p:nvPicPr>
          <p:cNvPr id="280" name="Graphique 279">
            <a:extLst>
              <a:ext uri="{FF2B5EF4-FFF2-40B4-BE49-F238E27FC236}">
                <a16:creationId xmlns:a16="http://schemas.microsoft.com/office/drawing/2014/main" id="{B326D8B3-C481-77C9-B7E7-C4EBF4B1BB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9003" y="6157730"/>
            <a:ext cx="142875" cy="247650"/>
          </a:xfrm>
          <a:prstGeom prst="rect">
            <a:avLst/>
          </a:prstGeom>
        </p:spPr>
      </p:pic>
      <p:pic>
        <p:nvPicPr>
          <p:cNvPr id="281" name="Graphique 280">
            <a:extLst>
              <a:ext uri="{FF2B5EF4-FFF2-40B4-BE49-F238E27FC236}">
                <a16:creationId xmlns:a16="http://schemas.microsoft.com/office/drawing/2014/main" id="{E4362D52-3BDF-AA5F-7DD1-3F3A1A7C07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2260" y="6157730"/>
            <a:ext cx="142875" cy="247650"/>
          </a:xfrm>
          <a:prstGeom prst="rect">
            <a:avLst/>
          </a:prstGeom>
        </p:spPr>
      </p:pic>
      <p:pic>
        <p:nvPicPr>
          <p:cNvPr id="282" name="Graphique 281">
            <a:extLst>
              <a:ext uri="{FF2B5EF4-FFF2-40B4-BE49-F238E27FC236}">
                <a16:creationId xmlns:a16="http://schemas.microsoft.com/office/drawing/2014/main" id="{229C4C4C-52C1-D4F8-9594-006B1AA64A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45517" y="6157730"/>
            <a:ext cx="142875" cy="247650"/>
          </a:xfrm>
          <a:prstGeom prst="rect">
            <a:avLst/>
          </a:prstGeom>
        </p:spPr>
      </p:pic>
      <p:pic>
        <p:nvPicPr>
          <p:cNvPr id="105" name="Image 104">
            <a:extLst>
              <a:ext uri="{FF2B5EF4-FFF2-40B4-BE49-F238E27FC236}">
                <a16:creationId xmlns:a16="http://schemas.microsoft.com/office/drawing/2014/main" id="{B88EA704-AF07-832D-5699-28CF6CB4A57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106" y="2250074"/>
            <a:ext cx="3466441" cy="3070197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962E6A6F-66A1-4884-B94A-14EE3634DFAE}"/>
              </a:ext>
            </a:extLst>
          </p:cNvPr>
          <p:cNvSpPr/>
          <p:nvPr/>
        </p:nvSpPr>
        <p:spPr>
          <a:xfrm>
            <a:off x="8310489" y="1273099"/>
            <a:ext cx="3454824" cy="4419600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Espace réservé du texte 9">
            <a:extLst>
              <a:ext uri="{FF2B5EF4-FFF2-40B4-BE49-F238E27FC236}">
                <a16:creationId xmlns:a16="http://schemas.microsoft.com/office/drawing/2014/main" id="{60188337-6788-4CD6-9BC4-FC59A2FF5D3F}"/>
              </a:ext>
            </a:extLst>
          </p:cNvPr>
          <p:cNvSpPr txBox="1">
            <a:spLocks/>
          </p:cNvSpPr>
          <p:nvPr/>
        </p:nvSpPr>
        <p:spPr>
          <a:xfrm>
            <a:off x="8185932" y="1168169"/>
            <a:ext cx="3461484" cy="617910"/>
          </a:xfrm>
          <a:prstGeom prst="rect">
            <a:avLst/>
          </a:prstGeom>
          <a:noFill/>
        </p:spPr>
        <p:txBody>
          <a:bodyPr vert="horz" lIns="251999" tIns="251999" rIns="251999" bIns="251999" rtlCol="0">
            <a:noAutofit/>
          </a:bodyPr>
          <a:lstStyle>
            <a:lvl1pPr marL="182563" indent="-17462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11"/>
              </a:buBlip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Blip>
                <a:blip r:embed="rId11"/>
              </a:buBlip>
              <a:tabLst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Blip>
                <a:blip r:embed="rId11"/>
              </a:buBlip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/>
              <a:t>United Kingdom</a:t>
            </a:r>
          </a:p>
          <a:p>
            <a:pPr lvl="1"/>
            <a:endParaRPr lang="fr-FR"/>
          </a:p>
        </p:txBody>
      </p:sp>
      <p:pic>
        <p:nvPicPr>
          <p:cNvPr id="48" name="Image 47" descr="Une image contenant texte, silhouette&#10;&#10;Description générée automatiquement">
            <a:extLst>
              <a:ext uri="{FF2B5EF4-FFF2-40B4-BE49-F238E27FC236}">
                <a16:creationId xmlns:a16="http://schemas.microsoft.com/office/drawing/2014/main" id="{D05716DF-D01D-4A1F-A00E-4533E775DFF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4833" y="2061650"/>
            <a:ext cx="1579434" cy="3258621"/>
          </a:xfrm>
          <a:prstGeom prst="rect">
            <a:avLst/>
          </a:prstGeom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BC196591-5601-4D9B-B324-41022C7F89D0}"/>
              </a:ext>
            </a:extLst>
          </p:cNvPr>
          <p:cNvSpPr/>
          <p:nvPr/>
        </p:nvSpPr>
        <p:spPr>
          <a:xfrm>
            <a:off x="4334445" y="1239836"/>
            <a:ext cx="3454824" cy="4462464"/>
          </a:xfrm>
          <a:prstGeom prst="rect">
            <a:avLst/>
          </a:prstGeom>
          <a:solidFill>
            <a:schemeClr val="tx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space réservé du texte 10">
            <a:extLst>
              <a:ext uri="{FF2B5EF4-FFF2-40B4-BE49-F238E27FC236}">
                <a16:creationId xmlns:a16="http://schemas.microsoft.com/office/drawing/2014/main" id="{FD8B2C12-C06A-4BB8-A70F-03F5998980AB}"/>
              </a:ext>
            </a:extLst>
          </p:cNvPr>
          <p:cNvSpPr txBox="1">
            <a:spLocks/>
          </p:cNvSpPr>
          <p:nvPr/>
        </p:nvSpPr>
        <p:spPr>
          <a:xfrm>
            <a:off x="4214038" y="1177770"/>
            <a:ext cx="3461484" cy="617910"/>
          </a:xfrm>
          <a:prstGeom prst="rect">
            <a:avLst/>
          </a:prstGeom>
          <a:noFill/>
        </p:spPr>
        <p:txBody>
          <a:bodyPr vert="horz" lIns="251999" tIns="251999" rIns="251999" bIns="251999" rtlCol="0">
            <a:noAutofit/>
          </a:bodyPr>
          <a:lstStyle>
            <a:lvl1pPr marL="182563" indent="-17462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Tx/>
              <a:buBlip>
                <a:blip r:embed="rId11"/>
              </a:buBlip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Blip>
                <a:blip r:embed="rId11"/>
              </a:buBlip>
              <a:tabLst/>
              <a:defRPr sz="1800" b="1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+mj-lt"/>
              <a:buAutoNum type="arabicPeriod"/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4608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Tx/>
              <a:buBlip>
                <a:blip r:embed="rId11"/>
              </a:buBlip>
              <a:tabLst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/>
              <a:t>Germany</a:t>
            </a:r>
          </a:p>
          <a:p>
            <a:pPr lvl="1"/>
            <a:endParaRPr lang="fr-FR"/>
          </a:p>
        </p:txBody>
      </p:sp>
      <p:pic>
        <p:nvPicPr>
          <p:cNvPr id="51" name="Image 50">
            <a:extLst>
              <a:ext uri="{FF2B5EF4-FFF2-40B4-BE49-F238E27FC236}">
                <a16:creationId xmlns:a16="http://schemas.microsoft.com/office/drawing/2014/main" id="{CB22D13A-BBFB-4ACC-A7B5-01A2B3DC04C6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4521" y="2265974"/>
            <a:ext cx="1995074" cy="268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450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CDACA8-9E21-26A0-26F3-096EDF98FE31}"/>
              </a:ext>
            </a:extLst>
          </p:cNvPr>
          <p:cNvSpPr/>
          <p:nvPr/>
        </p:nvSpPr>
        <p:spPr>
          <a:xfrm>
            <a:off x="0" y="923278"/>
            <a:ext cx="5353233" cy="559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455CF8-96AB-3A7F-6832-736A8448A4C4}"/>
              </a:ext>
            </a:extLst>
          </p:cNvPr>
          <p:cNvSpPr/>
          <p:nvPr/>
        </p:nvSpPr>
        <p:spPr>
          <a:xfrm>
            <a:off x="5167563" y="7936"/>
            <a:ext cx="7024437" cy="68500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1DF2576-9817-281B-F9E6-8588B6D33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852" y="205337"/>
            <a:ext cx="4463314" cy="1532727"/>
          </a:xfrm>
        </p:spPr>
        <p:txBody>
          <a:bodyPr/>
          <a:lstStyle/>
          <a:p>
            <a:r>
              <a:rPr lang="en-US" dirty="0"/>
              <a:t>Our ambition : </a:t>
            </a:r>
            <a:br>
              <a:rPr lang="en-US" dirty="0"/>
            </a:br>
            <a:r>
              <a:rPr lang="en-US" dirty="0"/>
              <a:t>A European leader in underground hydrogen storage</a:t>
            </a:r>
            <a:endParaRPr lang="fr-FR" dirty="0"/>
          </a:p>
        </p:txBody>
      </p:sp>
      <p:pic>
        <p:nvPicPr>
          <p:cNvPr id="4" name="Espace réservé pour une image  5">
            <a:extLst>
              <a:ext uri="{FF2B5EF4-FFF2-40B4-BE49-F238E27FC236}">
                <a16:creationId xmlns:a16="http://schemas.microsoft.com/office/drawing/2014/main" id="{265C660F-E7C2-E212-A0F8-53ECC649AD6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919037"/>
            <a:ext cx="5167562" cy="493896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1985FB1E-18FA-2D7A-FB5F-842B322174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3090" y="87366"/>
            <a:ext cx="5594722" cy="666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0753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51A8C414-F310-4FFA-9113-22FAAE5C9F4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19" y="3565788"/>
            <a:ext cx="5102943" cy="129203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7885186C-0818-4F29-9705-B19AE15DBF4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20" y="482941"/>
            <a:ext cx="5102943" cy="1446413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A8C352DD-281D-478F-9D92-8586207E41E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20" y="4925756"/>
            <a:ext cx="5102942" cy="144146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9CC3A01D-DC53-4289-8575-B4146A865B4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19" y="2119741"/>
            <a:ext cx="5102943" cy="125836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E415EEA1-9D23-4078-99C7-89D011E0C76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7173" y="527620"/>
            <a:ext cx="5493774" cy="1359968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C8021B85-0D99-448E-B0F8-72766BFB20A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7174" y="2053644"/>
            <a:ext cx="5493773" cy="1286042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29A6CEB3-BCD3-4988-9128-6CDA4787BAE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7174" y="3565267"/>
            <a:ext cx="5493773" cy="1340248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A2245D53-280B-43D7-B525-0FECA0044F5E}"/>
              </a:ext>
            </a:extLst>
          </p:cNvPr>
          <p:cNvSpPr txBox="1"/>
          <p:nvPr/>
        </p:nvSpPr>
        <p:spPr>
          <a:xfrm>
            <a:off x="7368679" y="5123269"/>
            <a:ext cx="28107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800" b="1" dirty="0">
                <a:solidFill>
                  <a:srgbClr val="54B4C2"/>
                </a:solidFill>
              </a:rPr>
              <a:t>...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51D186E-64D2-4BD7-9EFB-9001DDB9F999}"/>
              </a:ext>
            </a:extLst>
          </p:cNvPr>
          <p:cNvSpPr/>
          <p:nvPr/>
        </p:nvSpPr>
        <p:spPr>
          <a:xfrm>
            <a:off x="1712422" y="1438102"/>
            <a:ext cx="1213658" cy="12469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7F52F23-34E8-4396-B01E-5B51A1115DFC}"/>
              </a:ext>
            </a:extLst>
          </p:cNvPr>
          <p:cNvSpPr/>
          <p:nvPr/>
        </p:nvSpPr>
        <p:spPr>
          <a:xfrm>
            <a:off x="1554480" y="2701636"/>
            <a:ext cx="1299556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53698DB-2FF9-4A72-911E-46047F38748E}"/>
              </a:ext>
            </a:extLst>
          </p:cNvPr>
          <p:cNvSpPr/>
          <p:nvPr/>
        </p:nvSpPr>
        <p:spPr>
          <a:xfrm>
            <a:off x="2673350" y="4165834"/>
            <a:ext cx="1904192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B3795B-4374-4031-B65A-604FB2D4735E}"/>
              </a:ext>
            </a:extLst>
          </p:cNvPr>
          <p:cNvSpPr/>
          <p:nvPr/>
        </p:nvSpPr>
        <p:spPr>
          <a:xfrm>
            <a:off x="1130300" y="5867634"/>
            <a:ext cx="2141047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1C85831-8A5B-4A24-8503-93DE2EC6C768}"/>
              </a:ext>
            </a:extLst>
          </p:cNvPr>
          <p:cNvSpPr/>
          <p:nvPr/>
        </p:nvSpPr>
        <p:spPr>
          <a:xfrm>
            <a:off x="6191250" y="4218153"/>
            <a:ext cx="3244850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D9B82EC-283E-4736-B539-78DA9BCA7E83}"/>
              </a:ext>
            </a:extLst>
          </p:cNvPr>
          <p:cNvSpPr/>
          <p:nvPr/>
        </p:nvSpPr>
        <p:spPr>
          <a:xfrm>
            <a:off x="6191250" y="2449904"/>
            <a:ext cx="1841500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72C4C1A-7D2B-4628-9B77-1ECFF03E51B1}"/>
              </a:ext>
            </a:extLst>
          </p:cNvPr>
          <p:cNvSpPr/>
          <p:nvPr/>
        </p:nvSpPr>
        <p:spPr>
          <a:xfrm>
            <a:off x="6191250" y="925904"/>
            <a:ext cx="3460750" cy="155740"/>
          </a:xfrm>
          <a:prstGeom prst="rect">
            <a:avLst/>
          </a:prstGeom>
          <a:solidFill>
            <a:srgbClr val="C55A11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6082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471D8C-4EDC-3101-96E7-8669B6060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851" y="205337"/>
            <a:ext cx="9579043" cy="812530"/>
          </a:xfrm>
        </p:spPr>
        <p:txBody>
          <a:bodyPr/>
          <a:lstStyle/>
          <a:p>
            <a:r>
              <a:rPr lang="fr-FR" dirty="0"/>
              <a:t>Large-</a:t>
            </a:r>
            <a:r>
              <a:rPr lang="fr-FR" dirty="0" err="1"/>
              <a:t>scale</a:t>
            </a:r>
            <a:r>
              <a:rPr lang="fr-FR" dirty="0"/>
              <a:t> H2 infrastructures business case </a:t>
            </a:r>
            <a:r>
              <a:rPr lang="fr-FR" dirty="0" err="1"/>
              <a:t>grows</a:t>
            </a:r>
            <a:r>
              <a:rPr lang="fr-FR" dirty="0"/>
              <a:t> </a:t>
            </a:r>
            <a:r>
              <a:rPr lang="fr-FR" dirty="0" err="1"/>
              <a:t>stronger</a:t>
            </a:r>
            <a:r>
              <a:rPr lang="fr-FR" dirty="0"/>
              <a:t> by the </a:t>
            </a:r>
            <a:r>
              <a:rPr lang="fr-FR" dirty="0" err="1"/>
              <a:t>day</a:t>
            </a:r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F585AA9-0B70-DEC9-43C7-A142A6ADA771}"/>
              </a:ext>
            </a:extLst>
          </p:cNvPr>
          <p:cNvSpPr/>
          <p:nvPr/>
        </p:nvSpPr>
        <p:spPr>
          <a:xfrm>
            <a:off x="764837" y="2509785"/>
            <a:ext cx="2508194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ong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olitical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push </a:t>
            </a:r>
            <a:r>
              <a:rPr kumimoji="0" lang="fr-FR" sz="180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ince</a:t>
            </a:r>
            <a:r>
              <a: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fr-FR" sz="180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January</a:t>
            </a:r>
            <a:endParaRPr kumimoji="0" lang="fr-FR" sz="1800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7ABECC-3EBC-DE3F-0AFB-25106C62C0E6}"/>
              </a:ext>
            </a:extLst>
          </p:cNvPr>
          <p:cNvSpPr/>
          <p:nvPr/>
        </p:nvSpPr>
        <p:spPr>
          <a:xfrm>
            <a:off x="8566797" y="2509784"/>
            <a:ext cx="2508194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ydrogen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orage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key to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eet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future EU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gulation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riterias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31EA67-3392-98BF-DE23-2E2AAEEB4864}"/>
              </a:ext>
            </a:extLst>
          </p:cNvPr>
          <p:cNvSpPr/>
          <p:nvPr/>
        </p:nvSpPr>
        <p:spPr>
          <a:xfrm>
            <a:off x="4433467" y="2509783"/>
            <a:ext cx="2972893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Hydrogen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orage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fr-FR" sz="180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dentified</a:t>
            </a:r>
            <a:r>
              <a:rPr kumimoji="0" lang="fr-FR" sz="1800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as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iority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to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achieve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fr-FR" sz="1800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most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climate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 neutral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strategies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449C3C9-FA6C-2A70-4E26-01046DFEEDD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223" y="3749750"/>
            <a:ext cx="3053422" cy="701831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379B1BAF-9B08-D134-BF59-24D63C75EA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5018" y="5375453"/>
            <a:ext cx="1659573" cy="929361"/>
          </a:xfrm>
          <a:prstGeom prst="rect">
            <a:avLst/>
          </a:prstGeom>
          <a:noFill/>
          <a:ln>
            <a:solidFill>
              <a:srgbClr val="17255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Anke Alvermann-Schuler – Managerin für Stakeholder Management – Gasunie  Energy Development GmbH | LinkedIn">
            <a:extLst>
              <a:ext uri="{FF2B5EF4-FFF2-40B4-BE49-F238E27FC236}">
                <a16:creationId xmlns:a16="http://schemas.microsoft.com/office/drawing/2014/main" id="{B28AADFB-084E-1F7F-8652-3A643CC76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7024" y="4647758"/>
            <a:ext cx="2135563" cy="531518"/>
          </a:xfrm>
          <a:prstGeom prst="rect">
            <a:avLst/>
          </a:prstGeom>
          <a:noFill/>
          <a:ln>
            <a:solidFill>
              <a:srgbClr val="17255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BMWK - Homepage">
            <a:extLst>
              <a:ext uri="{FF2B5EF4-FFF2-40B4-BE49-F238E27FC236}">
                <a16:creationId xmlns:a16="http://schemas.microsoft.com/office/drawing/2014/main" id="{412B8863-20F2-1FE2-2772-FDBBFE47F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4157" y="5428978"/>
            <a:ext cx="1284405" cy="628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778C4058-4297-D127-7815-FB0977890F91}"/>
              </a:ext>
            </a:extLst>
          </p:cNvPr>
          <p:cNvSpPr txBox="1"/>
          <p:nvPr/>
        </p:nvSpPr>
        <p:spPr>
          <a:xfrm>
            <a:off x="3923324" y="5192223"/>
            <a:ext cx="272285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spc="50" dirty="0">
                <a:cs typeface="Arial" panose="020B0604020202020204" pitchFamily="34" charset="0"/>
              </a:rPr>
              <a:t>“German National Hydrogen strategy considers that to achieve climate-neutral energy system, it is </a:t>
            </a:r>
            <a:r>
              <a:rPr lang="en-US" sz="1400" b="1" spc="50" dirty="0">
                <a:solidFill>
                  <a:srgbClr val="17255F"/>
                </a:solidFill>
                <a:cs typeface="Arial" panose="020B0604020202020204" pitchFamily="34" charset="0"/>
              </a:rPr>
              <a:t>essential to develop a network and storage infrastructure”</a:t>
            </a:r>
            <a:endParaRPr lang="fr-FR" sz="1400" b="1" spc="50" dirty="0">
              <a:solidFill>
                <a:srgbClr val="17255F"/>
              </a:solidFill>
              <a:cs typeface="Arial" panose="020B0604020202020204" pitchFamily="34" charset="0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211238E-FF6B-F5D7-2129-235181A0DA5B}"/>
              </a:ext>
            </a:extLst>
          </p:cNvPr>
          <p:cNvSpPr txBox="1"/>
          <p:nvPr/>
        </p:nvSpPr>
        <p:spPr>
          <a:xfrm>
            <a:off x="5822420" y="3886735"/>
            <a:ext cx="2135563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dirty="0"/>
              <a:t>“Meeting the </a:t>
            </a:r>
            <a:r>
              <a:rPr lang="en-US" sz="1400" b="1" dirty="0">
                <a:solidFill>
                  <a:srgbClr val="17255F"/>
                </a:solidFill>
              </a:rPr>
              <a:t>UK’s Net Zero targets requires</a:t>
            </a:r>
          </a:p>
          <a:p>
            <a:pPr algn="just"/>
            <a:r>
              <a:rPr lang="en-US" sz="1400" b="1" dirty="0">
                <a:solidFill>
                  <a:srgbClr val="17255F"/>
                </a:solidFill>
              </a:rPr>
              <a:t>2 </a:t>
            </a:r>
            <a:r>
              <a:rPr lang="en-US" sz="1400" b="1" dirty="0" err="1">
                <a:solidFill>
                  <a:srgbClr val="17255F"/>
                </a:solidFill>
              </a:rPr>
              <a:t>TWh</a:t>
            </a:r>
            <a:r>
              <a:rPr lang="en-US" sz="1400" b="1" dirty="0">
                <a:solidFill>
                  <a:srgbClr val="17255F"/>
                </a:solidFill>
              </a:rPr>
              <a:t> of H</a:t>
            </a:r>
            <a:r>
              <a:rPr lang="en-US" sz="1400" b="1" baseline="-25000" dirty="0">
                <a:solidFill>
                  <a:srgbClr val="17255F"/>
                </a:solidFill>
              </a:rPr>
              <a:t>2</a:t>
            </a:r>
            <a:r>
              <a:rPr lang="en-US" sz="1400" b="1" dirty="0">
                <a:solidFill>
                  <a:srgbClr val="17255F"/>
                </a:solidFill>
              </a:rPr>
              <a:t> storage</a:t>
            </a:r>
            <a:r>
              <a:rPr lang="en-US" sz="1400" dirty="0"/>
              <a:t> to be available by 2030”</a:t>
            </a:r>
            <a:endParaRPr lang="fr-FR" sz="1400" dirty="0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E19B6CA5-A709-A31E-7340-0546BB952094}"/>
              </a:ext>
            </a:extLst>
          </p:cNvPr>
          <p:cNvSpPr/>
          <p:nvPr/>
        </p:nvSpPr>
        <p:spPr>
          <a:xfrm>
            <a:off x="1649102" y="1521216"/>
            <a:ext cx="611404" cy="534026"/>
          </a:xfrm>
          <a:prstGeom prst="ellipse">
            <a:avLst/>
          </a:prstGeom>
          <a:solidFill>
            <a:srgbClr val="17255F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4913738-F055-394F-CB6E-44539234F404}"/>
              </a:ext>
            </a:extLst>
          </p:cNvPr>
          <p:cNvSpPr/>
          <p:nvPr/>
        </p:nvSpPr>
        <p:spPr>
          <a:xfrm>
            <a:off x="5614211" y="1521216"/>
            <a:ext cx="611404" cy="534026"/>
          </a:xfrm>
          <a:prstGeom prst="ellipse">
            <a:avLst/>
          </a:prstGeom>
          <a:solidFill>
            <a:srgbClr val="17255F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ED5E7CB4-B24B-5DA7-1424-B1941CE29173}"/>
              </a:ext>
            </a:extLst>
          </p:cNvPr>
          <p:cNvSpPr/>
          <p:nvPr/>
        </p:nvSpPr>
        <p:spPr>
          <a:xfrm>
            <a:off x="9579320" y="1521216"/>
            <a:ext cx="611404" cy="534026"/>
          </a:xfrm>
          <a:prstGeom prst="ellipse">
            <a:avLst/>
          </a:prstGeom>
          <a:solidFill>
            <a:srgbClr val="17255F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</a:t>
            </a:r>
          </a:p>
        </p:txBody>
      </p:sp>
      <p:pic>
        <p:nvPicPr>
          <p:cNvPr id="20" name="Picture 2" descr="About the Climate Change Committee - Climate Change Committee">
            <a:extLst>
              <a:ext uri="{FF2B5EF4-FFF2-40B4-BE49-F238E27FC236}">
                <a16:creationId xmlns:a16="http://schemas.microsoft.com/office/drawing/2014/main" id="{B0B7DDC8-A18C-A2BB-F089-DC506270E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0041" y="4090675"/>
            <a:ext cx="1286032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69CF84FD-7256-A769-B30F-09C16F6642D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23929" y="3692475"/>
            <a:ext cx="2351062" cy="1910566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B02DF379-515C-7605-D02A-881E2251CA0E}"/>
              </a:ext>
            </a:extLst>
          </p:cNvPr>
          <p:cNvSpPr txBox="1"/>
          <p:nvPr/>
        </p:nvSpPr>
        <p:spPr>
          <a:xfrm>
            <a:off x="8723928" y="5698556"/>
            <a:ext cx="258493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en-US" sz="1400" b="1" dirty="0">
                <a:solidFill>
                  <a:srgbClr val="17255F"/>
                </a:solidFill>
              </a:rPr>
              <a:t>Storage high flexibility, scalability &amp; large-scale </a:t>
            </a:r>
            <a:r>
              <a:rPr lang="en-US" sz="1400" dirty="0"/>
              <a:t>volume is key to meet </a:t>
            </a:r>
            <a:r>
              <a:rPr lang="en-US" sz="1400" b="1" dirty="0">
                <a:solidFill>
                  <a:srgbClr val="17255F"/>
                </a:solidFill>
              </a:rPr>
              <a:t>hourly correlation </a:t>
            </a:r>
            <a:r>
              <a:rPr lang="en-US" sz="1400" dirty="0"/>
              <a:t>criteria in 2030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38211519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80BE6C1-6A74-03D6-DEBC-07DC8A9679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C9AB557-54BC-C408-0820-FCC2008DFF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1266" name="Picture 2" descr="Image">
            <a:extLst>
              <a:ext uri="{FF2B5EF4-FFF2-40B4-BE49-F238E27FC236}">
                <a16:creationId xmlns:a16="http://schemas.microsoft.com/office/drawing/2014/main" id="{432AF9EC-58D6-DB5D-C87E-5E31E15458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43088" y="395468"/>
            <a:ext cx="9373924" cy="602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960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0A468E7-AA4E-C218-0E12-BC8D82B7A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74" y="339653"/>
            <a:ext cx="8305800" cy="64434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sz="2400" dirty="0">
                <a:solidFill>
                  <a:schemeClr val="accent1"/>
                </a:solidFill>
                <a:latin typeface="+mj-lt"/>
              </a:rPr>
              <a:t>GEOH2 – underground </a:t>
            </a:r>
            <a:r>
              <a:rPr lang="fr-FR" sz="2400" dirty="0" err="1">
                <a:solidFill>
                  <a:schemeClr val="accent1"/>
                </a:solidFill>
                <a:latin typeface="+mj-lt"/>
              </a:rPr>
              <a:t>hydrogen</a:t>
            </a:r>
            <a:r>
              <a:rPr lang="fr-FR" sz="2400" dirty="0">
                <a:solidFill>
                  <a:schemeClr val="accent1"/>
                </a:solidFill>
                <a:latin typeface="+mj-lt"/>
              </a:rPr>
              <a:t> </a:t>
            </a:r>
            <a:r>
              <a:rPr lang="fr-FR" sz="2400" dirty="0" err="1">
                <a:solidFill>
                  <a:schemeClr val="accent1"/>
                </a:solidFill>
                <a:latin typeface="+mj-lt"/>
              </a:rPr>
              <a:t>storage</a:t>
            </a:r>
            <a:r>
              <a:rPr lang="fr-FR" sz="2400" dirty="0">
                <a:solidFill>
                  <a:schemeClr val="accent1"/>
                </a:solidFill>
                <a:latin typeface="+mj-lt"/>
              </a:rPr>
              <a:t> in the South of France</a:t>
            </a:r>
          </a:p>
        </p:txBody>
      </p:sp>
      <p:sp>
        <p:nvSpPr>
          <p:cNvPr id="10" name="Textfeld 55">
            <a:extLst>
              <a:ext uri="{FF2B5EF4-FFF2-40B4-BE49-F238E27FC236}">
                <a16:creationId xmlns:a16="http://schemas.microsoft.com/office/drawing/2014/main" id="{162F9C18-B816-0229-4024-23E27C8184D1}"/>
              </a:ext>
            </a:extLst>
          </p:cNvPr>
          <p:cNvSpPr txBox="1"/>
          <p:nvPr/>
        </p:nvSpPr>
        <p:spPr>
          <a:xfrm>
            <a:off x="6714414" y="1300977"/>
            <a:ext cx="4883148" cy="252376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Bef>
                <a:spcPts val="1000"/>
              </a:spcBef>
              <a:defRPr/>
            </a:pPr>
            <a:r>
              <a:rPr lang="en-GB" sz="1600" kern="0" dirty="0">
                <a:latin typeface="Arial"/>
                <a:ea typeface="MS PGothic"/>
                <a:cs typeface="Arial"/>
              </a:rPr>
              <a:t>Key facts</a:t>
            </a:r>
          </a:p>
          <a:p>
            <a:pPr marL="175895" indent="-175895" algn="just">
              <a:spcBef>
                <a:spcPts val="600"/>
              </a:spcBef>
              <a:buClr>
                <a:srgbClr val="59B3C3"/>
              </a:buClr>
              <a:buSzPct val="65000"/>
              <a:buFont typeface="Arial"/>
              <a:buBlip>
                <a:blip r:embed="rId2"/>
              </a:buBlip>
              <a:tabLst>
                <a:tab pos="176213" algn="l"/>
              </a:tabLst>
              <a:defRPr/>
            </a:pP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Storage : </a:t>
            </a:r>
            <a:r>
              <a:rPr lang="en-GB" sz="2000" b="1" kern="0" dirty="0">
                <a:solidFill>
                  <a:schemeClr val="accent2"/>
                </a:solidFill>
                <a:latin typeface="Arial"/>
                <a:cs typeface="Arial"/>
              </a:rPr>
              <a:t>6000</a:t>
            </a:r>
            <a:r>
              <a:rPr lang="en-GB" sz="1600" b="1" kern="0" dirty="0">
                <a:solidFill>
                  <a:schemeClr val="accent2"/>
                </a:solidFill>
                <a:latin typeface="Arial"/>
                <a:cs typeface="Arial"/>
              </a:rPr>
              <a:t> tons </a:t>
            </a: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in 2 existing salt caverns </a:t>
            </a:r>
          </a:p>
          <a:p>
            <a:pPr marL="175895" indent="-175895" algn="just">
              <a:spcBef>
                <a:spcPts val="600"/>
              </a:spcBef>
              <a:buClr>
                <a:srgbClr val="59B3C3"/>
              </a:buClr>
              <a:buSzPct val="65000"/>
              <a:buFont typeface="Arial"/>
              <a:buBlip>
                <a:blip r:embed="rId2"/>
              </a:buBlip>
              <a:tabLst>
                <a:tab pos="176213" algn="l"/>
              </a:tabLst>
              <a:defRPr/>
            </a:pP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Pipeline : </a:t>
            </a:r>
            <a:r>
              <a:rPr lang="en-GB" sz="2000" b="1" kern="0" dirty="0">
                <a:solidFill>
                  <a:schemeClr val="accent2"/>
                </a:solidFill>
                <a:latin typeface="Arial"/>
                <a:cs typeface="Arial"/>
              </a:rPr>
              <a:t>100</a:t>
            </a:r>
            <a:r>
              <a:rPr lang="en-GB" sz="1600" b="1" kern="0" dirty="0">
                <a:solidFill>
                  <a:schemeClr val="accent2"/>
                </a:solidFill>
                <a:latin typeface="Arial"/>
                <a:cs typeface="Arial"/>
              </a:rPr>
              <a:t> km</a:t>
            </a:r>
          </a:p>
          <a:p>
            <a:pPr marL="175895" indent="-175895" algn="just">
              <a:spcBef>
                <a:spcPts val="600"/>
              </a:spcBef>
              <a:buClr>
                <a:srgbClr val="59B3C3"/>
              </a:buClr>
              <a:buSzPct val="65000"/>
              <a:buFont typeface="Arial"/>
              <a:buBlip>
                <a:blip r:embed="rId2"/>
              </a:buBlip>
              <a:tabLst>
                <a:tab pos="176213" algn="l"/>
              </a:tabLst>
              <a:defRPr/>
            </a:pP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Demand : </a:t>
            </a:r>
            <a:r>
              <a:rPr lang="en-GB" sz="2000" b="1" kern="0" dirty="0">
                <a:solidFill>
                  <a:schemeClr val="accent2"/>
                </a:solidFill>
                <a:latin typeface="Arial"/>
                <a:cs typeface="Arial"/>
              </a:rPr>
              <a:t>85</a:t>
            </a:r>
            <a:r>
              <a:rPr lang="en-GB" sz="1600" b="1" kern="0" dirty="0">
                <a:solidFill>
                  <a:schemeClr val="accent2"/>
                </a:solidFill>
                <a:latin typeface="Arial"/>
                <a:cs typeface="Arial"/>
              </a:rPr>
              <a:t> kt/year </a:t>
            </a: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green H2 by 2030</a:t>
            </a:r>
          </a:p>
          <a:p>
            <a:pPr marL="175895" marR="0" lvl="0" indent="-175895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9B3C3"/>
              </a:buClr>
              <a:buSzPct val="65000"/>
              <a:buFontTx/>
              <a:buBlip>
                <a:blip r:embed="rId2"/>
              </a:buBlip>
              <a:tabLst>
                <a:tab pos="176213" algn="l"/>
              </a:tabLst>
              <a:defRPr/>
            </a:pP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Production : </a:t>
            </a:r>
            <a:r>
              <a:rPr lang="en-GB" sz="2000" b="1" kern="0" dirty="0">
                <a:solidFill>
                  <a:schemeClr val="accent2"/>
                </a:solidFill>
                <a:latin typeface="Arial"/>
                <a:cs typeface="Arial"/>
              </a:rPr>
              <a:t>1</a:t>
            </a:r>
            <a:r>
              <a:rPr lang="en-GB" sz="1600" b="1" kern="0" dirty="0">
                <a:solidFill>
                  <a:schemeClr val="accent2"/>
                </a:solidFill>
                <a:latin typeface="Arial"/>
                <a:cs typeface="Arial"/>
              </a:rPr>
              <a:t> GW electrolysis </a:t>
            </a:r>
            <a:r>
              <a:rPr lang="en-GB" sz="1600" kern="0" dirty="0">
                <a:solidFill>
                  <a:srgbClr val="353A3D"/>
                </a:solidFill>
                <a:latin typeface="Arial"/>
                <a:cs typeface="Arial"/>
              </a:rPr>
              <a:t>by 2030</a:t>
            </a:r>
          </a:p>
          <a:p>
            <a:pPr marL="175895" marR="0" lvl="0" indent="-175895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9B3C3"/>
              </a:buClr>
              <a:buSzPct val="65000"/>
              <a:buFontTx/>
              <a:buBlip>
                <a:blip r:embed="rId2"/>
              </a:buBlip>
              <a:tabLst>
                <a:tab pos="176213" algn="l"/>
              </a:tabLst>
              <a:defRPr/>
            </a:pPr>
            <a:endParaRPr lang="en-GB" sz="1600" b="1" kern="0" dirty="0">
              <a:solidFill>
                <a:srgbClr val="353A3D"/>
              </a:solidFill>
              <a:latin typeface="Arial"/>
              <a:ea typeface="MS PGothic" panose="020B0600070205080204" pitchFamily="34" charset="-128"/>
              <a:cs typeface="Arial"/>
            </a:endParaRP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9B3C3"/>
              </a:buClr>
              <a:buSzPct val="65000"/>
              <a:tabLst>
                <a:tab pos="176213" algn="l"/>
              </a:tabLst>
              <a:defRPr/>
            </a:pPr>
            <a:r>
              <a:rPr lang="en-GB" sz="1600" kern="0" dirty="0">
                <a:solidFill>
                  <a:srgbClr val="353A3D"/>
                </a:solidFill>
                <a:latin typeface="Arial"/>
                <a:ea typeface="MS PGothic" panose="020B0600070205080204" pitchFamily="34" charset="-128"/>
                <a:cs typeface="Arial"/>
              </a:rPr>
              <a:t>COD Storage : 2028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790A5743-BA6C-98DB-1BA8-4E92A2A51B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3524" y="127581"/>
            <a:ext cx="2414528" cy="589374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7E772C86-56C7-C3EB-0CCC-B048A7C4BDFF}"/>
              </a:ext>
            </a:extLst>
          </p:cNvPr>
          <p:cNvSpPr txBox="1"/>
          <p:nvPr/>
        </p:nvSpPr>
        <p:spPr>
          <a:xfrm>
            <a:off x="6819077" y="4035515"/>
            <a:ext cx="4997365" cy="2508379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59B3C3"/>
              </a:buClr>
              <a:buSzPct val="65000"/>
              <a:tabLst>
                <a:tab pos="176213" algn="l"/>
              </a:tabLst>
              <a:defRPr/>
            </a:pPr>
            <a:r>
              <a:rPr lang="en-GB" sz="2400" b="1" kern="0" dirty="0">
                <a:solidFill>
                  <a:schemeClr val="bg1"/>
                </a:solidFill>
                <a:latin typeface="Arial"/>
                <a:ea typeface="MS PGothic" panose="020B0600070205080204" pitchFamily="34" charset="-128"/>
                <a:cs typeface="Arial"/>
              </a:rPr>
              <a:t>Values</a:t>
            </a:r>
            <a:endParaRPr lang="en-GB" sz="1800" b="1" kern="0" dirty="0">
              <a:solidFill>
                <a:schemeClr val="bg1"/>
              </a:solidFill>
              <a:latin typeface="Arial"/>
              <a:ea typeface="MS PGothic" panose="020B0600070205080204" pitchFamily="34" charset="-128"/>
              <a:cs typeface="Arial"/>
            </a:endParaRPr>
          </a:p>
          <a:p>
            <a:pPr marL="285750" indent="-285750" algn="just">
              <a:spcBef>
                <a:spcPts val="600"/>
              </a:spcBef>
              <a:buClr>
                <a:schemeClr val="bg1"/>
              </a:buClr>
              <a:buSzPct val="65000"/>
              <a:buFont typeface="Wingdings" panose="05000000000000000000" pitchFamily="2" charset="2"/>
              <a:buChar char="ü"/>
              <a:tabLst>
                <a:tab pos="176213" algn="l"/>
              </a:tabLst>
              <a:defRPr/>
            </a:pPr>
            <a:r>
              <a:rPr lang="en-GB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Green H2 cost : </a:t>
            </a:r>
            <a:r>
              <a:rPr lang="en-GB" sz="2400" b="1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-25%</a:t>
            </a:r>
          </a:p>
          <a:p>
            <a:pPr marL="285750" indent="-285750" algn="just">
              <a:spcBef>
                <a:spcPts val="600"/>
              </a:spcBef>
              <a:buClr>
                <a:schemeClr val="bg1"/>
              </a:buClr>
              <a:buSzPct val="65000"/>
              <a:buFont typeface="Wingdings" panose="05000000000000000000" pitchFamily="2" charset="2"/>
              <a:buChar char="ü"/>
              <a:tabLst>
                <a:tab pos="176213" algn="l"/>
              </a:tabLst>
              <a:defRPr/>
            </a:pPr>
            <a:r>
              <a:rPr lang="en-GB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Continuous supply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/>
              </a:buClr>
              <a:buSzPct val="65000"/>
              <a:buFont typeface="Wingdings" panose="05000000000000000000" pitchFamily="2" charset="2"/>
              <a:buChar char="ü"/>
              <a:tabLst>
                <a:tab pos="176213" algn="l"/>
              </a:tabLst>
              <a:defRPr/>
            </a:pPr>
            <a:r>
              <a:rPr lang="en-GB" sz="1800" kern="0" dirty="0">
                <a:solidFill>
                  <a:schemeClr val="bg1"/>
                </a:solidFill>
                <a:latin typeface="Arial"/>
                <a:ea typeface="MS PGothic" panose="020B0600070205080204" pitchFamily="34" charset="-128"/>
                <a:cs typeface="Arial"/>
              </a:rPr>
              <a:t>Power grid congestion</a:t>
            </a:r>
          </a:p>
          <a:p>
            <a:pPr marL="285750" indent="-285750" algn="just">
              <a:spcBef>
                <a:spcPts val="600"/>
              </a:spcBef>
              <a:buClr>
                <a:schemeClr val="bg1"/>
              </a:buClr>
              <a:buSzPct val="65000"/>
              <a:buFont typeface="Wingdings" panose="05000000000000000000" pitchFamily="2" charset="2"/>
              <a:buChar char="ü"/>
              <a:tabLst>
                <a:tab pos="176213" algn="l"/>
              </a:tabLst>
              <a:defRPr/>
            </a:pPr>
            <a:r>
              <a:rPr lang="en-GB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RES-E curtailment : 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t>+38%</a:t>
            </a: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anose="020B0600070205080204" pitchFamily="34" charset="-128"/>
                <a:cs typeface="Arial"/>
              </a:rPr>
              <a:t> H2 production</a:t>
            </a:r>
          </a:p>
          <a:p>
            <a:pPr marL="285750" indent="-285750" algn="just">
              <a:spcBef>
                <a:spcPts val="600"/>
              </a:spcBef>
              <a:buClr>
                <a:schemeClr val="bg1"/>
              </a:buClr>
              <a:buSzPct val="65000"/>
              <a:buFont typeface="Wingdings" panose="05000000000000000000" pitchFamily="2" charset="2"/>
              <a:buChar char="ü"/>
              <a:tabLst>
                <a:tab pos="176213" algn="l"/>
              </a:tabLst>
              <a:defRPr/>
            </a:pPr>
            <a:r>
              <a:rPr lang="en-GB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Environmental : </a:t>
            </a:r>
            <a:r>
              <a:rPr lang="en-GB" sz="2400" b="1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-70%</a:t>
            </a:r>
            <a:r>
              <a:rPr lang="en-GB" sz="2000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 </a:t>
            </a:r>
            <a:r>
              <a:rPr lang="en-GB" kern="0" dirty="0">
                <a:solidFill>
                  <a:schemeClr val="bg1"/>
                </a:solidFill>
                <a:ea typeface="MS PGothic" panose="020B0600070205080204" pitchFamily="34" charset="-128"/>
                <a:cs typeface="Arial"/>
              </a:rPr>
              <a:t>CO2 emission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7902C73D-83E0-B1C2-FF88-A8E86C8A2F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645" y="1291909"/>
            <a:ext cx="5076963" cy="4780137"/>
          </a:xfrm>
          <a:prstGeom prst="rect">
            <a:avLst/>
          </a:prstGeom>
        </p:spPr>
      </p:pic>
      <p:sp>
        <p:nvSpPr>
          <p:cNvPr id="13" name="Rectangle 8">
            <a:extLst>
              <a:ext uri="{FF2B5EF4-FFF2-40B4-BE49-F238E27FC236}">
                <a16:creationId xmlns:a16="http://schemas.microsoft.com/office/drawing/2014/main" id="{4A752359-2FF8-F970-894E-8EDD8975D3DA}"/>
              </a:ext>
            </a:extLst>
          </p:cNvPr>
          <p:cNvSpPr/>
          <p:nvPr/>
        </p:nvSpPr>
        <p:spPr>
          <a:xfrm>
            <a:off x="541874" y="1269542"/>
            <a:ext cx="5302833" cy="52387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Gerader Verbinder 442">
            <a:extLst>
              <a:ext uri="{FF2B5EF4-FFF2-40B4-BE49-F238E27FC236}">
                <a16:creationId xmlns:a16="http://schemas.microsoft.com/office/drawing/2014/main" id="{CBEB3D5B-C57F-54D5-15F5-5A3382568882}"/>
              </a:ext>
            </a:extLst>
          </p:cNvPr>
          <p:cNvCxnSpPr>
            <a:cxnSpLocks/>
            <a:stCxn id="34" idx="7"/>
          </p:cNvCxnSpPr>
          <p:nvPr/>
        </p:nvCxnSpPr>
        <p:spPr>
          <a:xfrm flipH="1" flipV="1">
            <a:off x="3598128" y="1353490"/>
            <a:ext cx="877140" cy="1882527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443">
            <a:extLst>
              <a:ext uri="{FF2B5EF4-FFF2-40B4-BE49-F238E27FC236}">
                <a16:creationId xmlns:a16="http://schemas.microsoft.com/office/drawing/2014/main" id="{7B6E826C-105F-D611-A91C-9633F6749AAB}"/>
              </a:ext>
            </a:extLst>
          </p:cNvPr>
          <p:cNvCxnSpPr>
            <a:cxnSpLocks/>
            <a:stCxn id="34" idx="4"/>
          </p:cNvCxnSpPr>
          <p:nvPr/>
        </p:nvCxnSpPr>
        <p:spPr>
          <a:xfrm flipH="1">
            <a:off x="3617522" y="3507488"/>
            <a:ext cx="736982" cy="87957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452">
            <a:extLst>
              <a:ext uri="{FF2B5EF4-FFF2-40B4-BE49-F238E27FC236}">
                <a16:creationId xmlns:a16="http://schemas.microsoft.com/office/drawing/2014/main" id="{F33385F4-F1EB-781E-1733-C7228FB1BBA4}"/>
              </a:ext>
            </a:extLst>
          </p:cNvPr>
          <p:cNvSpPr txBox="1"/>
          <p:nvPr/>
        </p:nvSpPr>
        <p:spPr>
          <a:xfrm>
            <a:off x="505298" y="6333911"/>
            <a:ext cx="31479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/>
              <a:t>https://ehb.eu/page/</a:t>
            </a:r>
            <a:r>
              <a:rPr lang="en-US" sz="800" dirty="0"/>
              <a:t>european-hydrogen-backbone-maps</a:t>
            </a:r>
          </a:p>
        </p:txBody>
      </p:sp>
      <p:grpSp>
        <p:nvGrpSpPr>
          <p:cNvPr id="20" name="Groupe 19">
            <a:extLst>
              <a:ext uri="{FF2B5EF4-FFF2-40B4-BE49-F238E27FC236}">
                <a16:creationId xmlns:a16="http://schemas.microsoft.com/office/drawing/2014/main" id="{6AC04775-8CBE-3C0E-0A67-97C3C8FB8F8F}"/>
              </a:ext>
            </a:extLst>
          </p:cNvPr>
          <p:cNvGrpSpPr/>
          <p:nvPr/>
        </p:nvGrpSpPr>
        <p:grpSpPr>
          <a:xfrm>
            <a:off x="593891" y="1289222"/>
            <a:ext cx="3037458" cy="2300134"/>
            <a:chOff x="6446044" y="1180150"/>
            <a:chExt cx="3037458" cy="2300134"/>
          </a:xfrm>
        </p:grpSpPr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6D909D4E-4C0C-83C3-996A-BB6401380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6044" y="1257909"/>
              <a:ext cx="3037458" cy="2222375"/>
            </a:xfrm>
            <a:prstGeom prst="rect">
              <a:avLst/>
            </a:prstGeom>
            <a:ln w="22225">
              <a:solidFill>
                <a:srgbClr val="C00000"/>
              </a:solidFill>
              <a:prstDash val="sysDot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2" name="Forme libre : forme 21">
              <a:extLst>
                <a:ext uri="{FF2B5EF4-FFF2-40B4-BE49-F238E27FC236}">
                  <a16:creationId xmlns:a16="http://schemas.microsoft.com/office/drawing/2014/main" id="{63D900CC-24A1-2A97-5F94-628D4047FE07}"/>
                </a:ext>
              </a:extLst>
            </p:cNvPr>
            <p:cNvSpPr/>
            <p:nvPr/>
          </p:nvSpPr>
          <p:spPr>
            <a:xfrm>
              <a:off x="6514901" y="2979956"/>
              <a:ext cx="1007582" cy="342261"/>
            </a:xfrm>
            <a:custGeom>
              <a:avLst/>
              <a:gdLst>
                <a:gd name="connsiteX0" fmla="*/ 1168400 w 1183857"/>
                <a:gd name="connsiteY0" fmla="*/ 0 h 508000"/>
                <a:gd name="connsiteX1" fmla="*/ 1073150 w 1183857"/>
                <a:gd name="connsiteY1" fmla="*/ 222250 h 508000"/>
                <a:gd name="connsiteX2" fmla="*/ 342900 w 1183857"/>
                <a:gd name="connsiteY2" fmla="*/ 355600 h 508000"/>
                <a:gd name="connsiteX3" fmla="*/ 0 w 1183857"/>
                <a:gd name="connsiteY3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3857" h="508000">
                  <a:moveTo>
                    <a:pt x="1168400" y="0"/>
                  </a:moveTo>
                  <a:cubicBezTo>
                    <a:pt x="1189566" y="81491"/>
                    <a:pt x="1210733" y="162983"/>
                    <a:pt x="1073150" y="222250"/>
                  </a:cubicBezTo>
                  <a:cubicBezTo>
                    <a:pt x="935567" y="281517"/>
                    <a:pt x="521758" y="307975"/>
                    <a:pt x="342900" y="355600"/>
                  </a:cubicBezTo>
                  <a:cubicBezTo>
                    <a:pt x="164042" y="403225"/>
                    <a:pt x="82021" y="455612"/>
                    <a:pt x="0" y="508000"/>
                  </a:cubicBezTo>
                </a:path>
              </a:pathLst>
            </a:custGeom>
            <a:noFill/>
            <a:ln w="38100">
              <a:solidFill>
                <a:srgbClr val="2BB96A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6F6FE289-04D8-04CB-FD74-739D5A0AC998}"/>
                </a:ext>
              </a:extLst>
            </p:cNvPr>
            <p:cNvSpPr/>
            <p:nvPr/>
          </p:nvSpPr>
          <p:spPr>
            <a:xfrm rot="15785130" flipH="1">
              <a:off x="6528041" y="2023965"/>
              <a:ext cx="1768667" cy="81038"/>
            </a:xfrm>
            <a:custGeom>
              <a:avLst/>
              <a:gdLst>
                <a:gd name="connsiteX0" fmla="*/ 1168400 w 1183857"/>
                <a:gd name="connsiteY0" fmla="*/ 0 h 508000"/>
                <a:gd name="connsiteX1" fmla="*/ 1073150 w 1183857"/>
                <a:gd name="connsiteY1" fmla="*/ 222250 h 508000"/>
                <a:gd name="connsiteX2" fmla="*/ 342900 w 1183857"/>
                <a:gd name="connsiteY2" fmla="*/ 355600 h 508000"/>
                <a:gd name="connsiteX3" fmla="*/ 0 w 1183857"/>
                <a:gd name="connsiteY3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3857" h="508000">
                  <a:moveTo>
                    <a:pt x="1168400" y="0"/>
                  </a:moveTo>
                  <a:cubicBezTo>
                    <a:pt x="1189566" y="81491"/>
                    <a:pt x="1210733" y="162983"/>
                    <a:pt x="1073150" y="222250"/>
                  </a:cubicBezTo>
                  <a:cubicBezTo>
                    <a:pt x="935567" y="281517"/>
                    <a:pt x="521758" y="307975"/>
                    <a:pt x="342900" y="355600"/>
                  </a:cubicBezTo>
                  <a:cubicBezTo>
                    <a:pt x="164042" y="403225"/>
                    <a:pt x="82021" y="455612"/>
                    <a:pt x="0" y="508000"/>
                  </a:cubicBezTo>
                </a:path>
              </a:pathLst>
            </a:custGeom>
            <a:noFill/>
            <a:ln w="38100">
              <a:solidFill>
                <a:srgbClr val="2BB96A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Picture 2" descr="H2Med : ce pipeline hydrogène reliant l'Espagne et la France sera prêt en 2030">
              <a:extLst>
                <a:ext uri="{FF2B5EF4-FFF2-40B4-BE49-F238E27FC236}">
                  <a16:creationId xmlns:a16="http://schemas.microsoft.com/office/drawing/2014/main" id="{D3C62EC9-23F5-4586-ED86-E20636B9095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50715" y="2907415"/>
              <a:ext cx="580611" cy="2818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5" name="Picture 2" descr="H2Med : ce pipeline hydrogène reliant l'Espagne et la France sera prêt en 2030">
            <a:extLst>
              <a:ext uri="{FF2B5EF4-FFF2-40B4-BE49-F238E27FC236}">
                <a16:creationId xmlns:a16="http://schemas.microsoft.com/office/drawing/2014/main" id="{0CB80E7E-422D-CA58-AA99-C8FC0FB26A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46851" y="5405700"/>
            <a:ext cx="1229467" cy="596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72A44611-D346-41CD-0561-3EE335AA9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2246" y="3908081"/>
            <a:ext cx="424042" cy="28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Flag of Spain - Wikipedia">
            <a:extLst>
              <a:ext uri="{FF2B5EF4-FFF2-40B4-BE49-F238E27FC236}">
                <a16:creationId xmlns:a16="http://schemas.microsoft.com/office/drawing/2014/main" id="{AD2EF438-9046-4837-0834-4F054E6905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9382" y="4792785"/>
            <a:ext cx="412540" cy="274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e 28">
            <a:extLst>
              <a:ext uri="{FF2B5EF4-FFF2-40B4-BE49-F238E27FC236}">
                <a16:creationId xmlns:a16="http://schemas.microsoft.com/office/drawing/2014/main" id="{0AE7DAA8-46FE-CF23-DEB1-0364AC0BB36C}"/>
              </a:ext>
            </a:extLst>
          </p:cNvPr>
          <p:cNvGrpSpPr/>
          <p:nvPr/>
        </p:nvGrpSpPr>
        <p:grpSpPr>
          <a:xfrm>
            <a:off x="4002831" y="4284739"/>
            <a:ext cx="1768499" cy="2058778"/>
            <a:chOff x="10643616" y="4683596"/>
            <a:chExt cx="1280319" cy="145330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7B581F4-B7EB-26EF-4BCB-56E73D3C224F}"/>
                </a:ext>
              </a:extLst>
            </p:cNvPr>
            <p:cNvSpPr/>
            <p:nvPr/>
          </p:nvSpPr>
          <p:spPr>
            <a:xfrm>
              <a:off x="10643616" y="4721441"/>
              <a:ext cx="1280319" cy="14154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31" name="Picture 4" descr="image">
              <a:extLst>
                <a:ext uri="{FF2B5EF4-FFF2-40B4-BE49-F238E27FC236}">
                  <a16:creationId xmlns:a16="http://schemas.microsoft.com/office/drawing/2014/main" id="{197AED02-3674-DEF3-06C5-B80107B134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64767" y="4768610"/>
              <a:ext cx="733007" cy="13318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6" descr="image">
              <a:extLst>
                <a:ext uri="{FF2B5EF4-FFF2-40B4-BE49-F238E27FC236}">
                  <a16:creationId xmlns:a16="http://schemas.microsoft.com/office/drawing/2014/main" id="{9185EAD1-989C-D227-1BDC-9EADF5C38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16310" y="4786821"/>
              <a:ext cx="469508" cy="13318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feld 452">
              <a:extLst>
                <a:ext uri="{FF2B5EF4-FFF2-40B4-BE49-F238E27FC236}">
                  <a16:creationId xmlns:a16="http://schemas.microsoft.com/office/drawing/2014/main" id="{953BEE10-1AB6-747A-53BA-0311FD129C1F}"/>
                </a:ext>
              </a:extLst>
            </p:cNvPr>
            <p:cNvSpPr txBox="1"/>
            <p:nvPr/>
          </p:nvSpPr>
          <p:spPr>
            <a:xfrm>
              <a:off x="10718733" y="4683596"/>
              <a:ext cx="1130273" cy="2308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/>
                <a:t>GA &amp; GB caverns</a:t>
              </a:r>
              <a:endParaRPr lang="en-US" sz="800" dirty="0"/>
            </a:p>
          </p:txBody>
        </p:sp>
      </p:grpSp>
      <p:sp>
        <p:nvSpPr>
          <p:cNvPr id="34" name="Ellipse 33">
            <a:extLst>
              <a:ext uri="{FF2B5EF4-FFF2-40B4-BE49-F238E27FC236}">
                <a16:creationId xmlns:a16="http://schemas.microsoft.com/office/drawing/2014/main" id="{C0C8C33E-3F11-BE04-5577-681E947E85E9}"/>
              </a:ext>
            </a:extLst>
          </p:cNvPr>
          <p:cNvSpPr/>
          <p:nvPr/>
        </p:nvSpPr>
        <p:spPr>
          <a:xfrm>
            <a:off x="4183716" y="3189440"/>
            <a:ext cx="341575" cy="318048"/>
          </a:xfrm>
          <a:prstGeom prst="ellipse">
            <a:avLst/>
          </a:prstGeom>
          <a:solidFill>
            <a:srgbClr val="C00000">
              <a:alpha val="30196"/>
            </a:srgbClr>
          </a:solidFill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4ED5EB2A-860E-A365-7F7A-227DC9A02787}"/>
              </a:ext>
            </a:extLst>
          </p:cNvPr>
          <p:cNvSpPr txBox="1"/>
          <p:nvPr/>
        </p:nvSpPr>
        <p:spPr>
          <a:xfrm>
            <a:off x="4619326" y="3168292"/>
            <a:ext cx="846462" cy="36933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800" b="1" spc="-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GEOH2</a:t>
            </a:r>
            <a:endParaRPr lang="fr-F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381FCFCF-9645-78AE-DF27-230729D0BB7E}"/>
              </a:ext>
            </a:extLst>
          </p:cNvPr>
          <p:cNvSpPr txBox="1"/>
          <p:nvPr/>
        </p:nvSpPr>
        <p:spPr>
          <a:xfrm>
            <a:off x="2526678" y="2737872"/>
            <a:ext cx="877140" cy="2769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 spc="-5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Hynframed</a:t>
            </a:r>
            <a:endParaRPr lang="fr-F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86322E3C-48A4-3A56-85D0-4C81C037A501}"/>
              </a:ext>
            </a:extLst>
          </p:cNvPr>
          <p:cNvSpPr txBox="1"/>
          <p:nvPr/>
        </p:nvSpPr>
        <p:spPr>
          <a:xfrm>
            <a:off x="4075248" y="1867479"/>
            <a:ext cx="877140" cy="2769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 spc="-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HY-FEN</a:t>
            </a:r>
            <a:endParaRPr lang="fr-F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E52C92CE-9F65-0027-48ED-8BE61FDEDC93}"/>
              </a:ext>
            </a:extLst>
          </p:cNvPr>
          <p:cNvSpPr txBox="1"/>
          <p:nvPr/>
        </p:nvSpPr>
        <p:spPr>
          <a:xfrm>
            <a:off x="2913283" y="4335357"/>
            <a:ext cx="666777" cy="276999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 spc="-5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BarMar</a:t>
            </a:r>
            <a:endParaRPr lang="fr-F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D327DA62-2F2E-3814-7533-6CC1FC60EFDC}"/>
              </a:ext>
            </a:extLst>
          </p:cNvPr>
          <p:cNvSpPr/>
          <p:nvPr/>
        </p:nvSpPr>
        <p:spPr>
          <a:xfrm>
            <a:off x="2965248" y="2005979"/>
            <a:ext cx="341575" cy="318048"/>
          </a:xfrm>
          <a:prstGeom prst="ellipse">
            <a:avLst/>
          </a:prstGeom>
          <a:solidFill>
            <a:srgbClr val="C00000">
              <a:alpha val="30196"/>
            </a:srgbClr>
          </a:solidFill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658F33AC-88B2-938F-7AED-D29D0104C7C0}"/>
              </a:ext>
            </a:extLst>
          </p:cNvPr>
          <p:cNvSpPr txBox="1"/>
          <p:nvPr/>
        </p:nvSpPr>
        <p:spPr>
          <a:xfrm>
            <a:off x="3001474" y="1786696"/>
            <a:ext cx="646348" cy="276999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1" spc="-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GEOH2</a:t>
            </a:r>
            <a:endParaRPr lang="fr-FR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EFC0A7CE-4FA4-25F1-6513-C143173ABF14}"/>
              </a:ext>
            </a:extLst>
          </p:cNvPr>
          <p:cNvSpPr txBox="1"/>
          <p:nvPr/>
        </p:nvSpPr>
        <p:spPr>
          <a:xfrm>
            <a:off x="5953662" y="6611779"/>
            <a:ext cx="5524501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Source : ARTELYS, “Showcasing the pathways and values of Underground Hydrogen Storage”, 2023</a:t>
            </a: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1385064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95D8379-EFA7-41BA-9E49-475F7954E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84" y="215514"/>
            <a:ext cx="6911514" cy="644340"/>
          </a:xfrm>
        </p:spPr>
        <p:txBody>
          <a:bodyPr>
            <a:noAutofit/>
          </a:bodyPr>
          <a:lstStyle/>
          <a:p>
            <a:r>
              <a:rPr lang="fr-FR" dirty="0"/>
              <a:t>A </a:t>
            </a:r>
            <a:r>
              <a:rPr lang="fr-FR" dirty="0" err="1"/>
              <a:t>growing</a:t>
            </a:r>
            <a:r>
              <a:rPr lang="fr-FR" dirty="0"/>
              <a:t> </a:t>
            </a:r>
            <a:r>
              <a:rPr lang="fr-FR" dirty="0" err="1"/>
              <a:t>interest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</a:t>
            </a:r>
            <a:r>
              <a:rPr lang="fr-FR" dirty="0" err="1"/>
              <a:t>various</a:t>
            </a:r>
            <a:r>
              <a:rPr lang="fr-FR" dirty="0"/>
              <a:t> </a:t>
            </a:r>
            <a:r>
              <a:rPr lang="fr-FR" dirty="0" err="1"/>
              <a:t>market</a:t>
            </a:r>
            <a:r>
              <a:rPr lang="fr-FR" dirty="0"/>
              <a:t> </a:t>
            </a:r>
            <a:r>
              <a:rPr lang="fr-FR" dirty="0" err="1"/>
              <a:t>players</a:t>
            </a:r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1E92AA-442F-42B5-916D-875C57294097}"/>
              </a:ext>
            </a:extLst>
          </p:cNvPr>
          <p:cNvSpPr/>
          <p:nvPr/>
        </p:nvSpPr>
        <p:spPr>
          <a:xfrm>
            <a:off x="812338" y="2400596"/>
            <a:ext cx="2508194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Large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industrials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84D593A-BDEF-4ABF-99FA-6DDF1876D1A9}"/>
              </a:ext>
            </a:extLst>
          </p:cNvPr>
          <p:cNvSpPr/>
          <p:nvPr/>
        </p:nvSpPr>
        <p:spPr>
          <a:xfrm>
            <a:off x="8556170" y="2400595"/>
            <a:ext cx="2508194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ower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grids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5818E15-C2EB-45FA-B34C-03E17A9A9DEE}"/>
              </a:ext>
            </a:extLst>
          </p:cNvPr>
          <p:cNvSpPr/>
          <p:nvPr/>
        </p:nvSpPr>
        <p:spPr>
          <a:xfrm>
            <a:off x="4099363" y="2400595"/>
            <a:ext cx="3445413" cy="59525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RES &amp; H2 </a:t>
            </a:r>
            <a:r>
              <a:rPr kumimoji="0" lang="fr-FR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Montserrat" panose="00000500000000000000" pitchFamily="2" charset="0"/>
                <a:ea typeface="+mn-ea"/>
                <a:cs typeface="+mn-cs"/>
              </a:rPr>
              <a:t>producers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17255F"/>
              </a:solidFill>
              <a:effectLst/>
              <a:uLnTx/>
              <a:uFillTx/>
              <a:latin typeface="Montserrat" panose="00000500000000000000" pitchFamily="2" charset="0"/>
              <a:ea typeface="+mn-ea"/>
              <a:cs typeface="+mn-cs"/>
            </a:endParaRPr>
          </a:p>
        </p:txBody>
      </p:sp>
      <p:pic>
        <p:nvPicPr>
          <p:cNvPr id="34" name="Image 33" descr="Une image contenant flèche&#10;&#10;Description générée automatiquement">
            <a:extLst>
              <a:ext uri="{FF2B5EF4-FFF2-40B4-BE49-F238E27FC236}">
                <a16:creationId xmlns:a16="http://schemas.microsoft.com/office/drawing/2014/main" id="{6D20B9CE-FE24-481A-B321-F78BCD2D361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2660" y="1587115"/>
            <a:ext cx="535241" cy="535241"/>
          </a:xfrm>
          <a:prstGeom prst="rect">
            <a:avLst/>
          </a:prstGeom>
        </p:spPr>
      </p:pic>
      <p:pic>
        <p:nvPicPr>
          <p:cNvPr id="36" name="Image 35" descr="Une image contenant texte&#10;&#10;Description générée automatiquement">
            <a:extLst>
              <a:ext uri="{FF2B5EF4-FFF2-40B4-BE49-F238E27FC236}">
                <a16:creationId xmlns:a16="http://schemas.microsoft.com/office/drawing/2014/main" id="{4DA41ED4-7641-45E9-9264-17440A3D67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5914" y="1599102"/>
            <a:ext cx="535241" cy="535241"/>
          </a:xfrm>
          <a:prstGeom prst="rect">
            <a:avLst/>
          </a:prstGeom>
        </p:spPr>
      </p:pic>
      <p:pic>
        <p:nvPicPr>
          <p:cNvPr id="38" name="Image 37" descr="Une image contenant texte&#10;&#10;Description générée automatiquement">
            <a:extLst>
              <a:ext uri="{FF2B5EF4-FFF2-40B4-BE49-F238E27FC236}">
                <a16:creationId xmlns:a16="http://schemas.microsoft.com/office/drawing/2014/main" id="{F6930C85-3797-411A-B511-90EF12A0E70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8" y="1515404"/>
            <a:ext cx="741828" cy="741828"/>
          </a:xfrm>
          <a:prstGeom prst="rect">
            <a:avLst/>
          </a:prstGeom>
        </p:spPr>
      </p:pic>
      <p:pic>
        <p:nvPicPr>
          <p:cNvPr id="48" name="Image 47" descr="Une image contenant flèche&#10;&#10;Description générée automatiquement">
            <a:extLst>
              <a:ext uri="{FF2B5EF4-FFF2-40B4-BE49-F238E27FC236}">
                <a16:creationId xmlns:a16="http://schemas.microsoft.com/office/drawing/2014/main" id="{9DA33ECF-21AA-4593-B682-74B578E194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3792" y="1621651"/>
            <a:ext cx="781228" cy="778944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F775672D-10BD-460A-98D6-BC5A5EF48E3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9322" y="2110369"/>
            <a:ext cx="355230" cy="35523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C1E0AF9E-0261-E42B-A2B9-98293F0ADE6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6497" y="6326076"/>
            <a:ext cx="864530" cy="367002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802506BA-7180-0ACB-8C2F-A0CCA500617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0022" y="6141870"/>
            <a:ext cx="750271" cy="3776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0E9CB95-F342-DBB0-9CA0-822C832B979E}"/>
              </a:ext>
            </a:extLst>
          </p:cNvPr>
          <p:cNvPicPr>
            <a:picLocks noChangeAspect="1"/>
          </p:cNvPicPr>
          <p:nvPr/>
        </p:nvPicPr>
        <p:blipFill>
          <a:blip r:embed="rId9" r:link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1774" y="5469615"/>
            <a:ext cx="849271" cy="311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0D72E75-3B8F-F857-37E2-7B4002CF9DD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5885" y="5770706"/>
            <a:ext cx="830815" cy="357260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EC7BED50-E177-59CC-694A-9883DC45A668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52789" y="5872341"/>
            <a:ext cx="537169" cy="501535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9DFB71BA-497D-D1C5-C1FE-721D12BC2FF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9256" y="5611677"/>
            <a:ext cx="1136237" cy="291199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EF2C5EE8-55A2-28E8-B4AC-6EAD874B5FBC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0133" y="5939002"/>
            <a:ext cx="1014708" cy="278559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5D33AB5C-FAD2-F2F0-A6DF-0F8EDAE391B8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1292" y="6289812"/>
            <a:ext cx="1178703" cy="27611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92DC6E9B-C24E-E84D-7002-CCA9091F8DBF}"/>
              </a:ext>
            </a:extLst>
          </p:cNvPr>
          <p:cNvSpPr txBox="1"/>
          <p:nvPr/>
        </p:nvSpPr>
        <p:spPr>
          <a:xfrm>
            <a:off x="812338" y="2922871"/>
            <a:ext cx="250819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110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HS </a:t>
            </a:r>
            <a:r>
              <a:rPr lang="en-US" sz="1100" spc="50" dirty="0">
                <a:latin typeface="Arial"/>
                <a:cs typeface="Arial" panose="020B0604020202020204" pitchFamily="34" charset="0"/>
              </a:rPr>
              <a:t>to provide 24/7 supply &amp; </a:t>
            </a:r>
            <a:r>
              <a:rPr kumimoji="0" lang="en-US" sz="110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ecurity of supply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F2AEC018-DFC4-4303-B025-2757A905752D}"/>
              </a:ext>
            </a:extLst>
          </p:cNvPr>
          <p:cNvSpPr txBox="1"/>
          <p:nvPr/>
        </p:nvSpPr>
        <p:spPr>
          <a:xfrm>
            <a:off x="4333397" y="2922870"/>
            <a:ext cx="297734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110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HS </a:t>
            </a:r>
            <a:r>
              <a:rPr lang="en-US" sz="1100" spc="50" dirty="0">
                <a:latin typeface="Arial"/>
                <a:cs typeface="Arial" panose="020B0604020202020204" pitchFamily="34" charset="0"/>
              </a:rPr>
              <a:t>to decouple renewable electricity &amp; hydrogen production from demand</a:t>
            </a:r>
            <a:endParaRPr kumimoji="0" lang="en-US" sz="1100" i="0" u="none" strike="noStrike" kern="1200" cap="none" spc="5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5615E73C-B326-AD5F-9D68-4234A4B63D2A}"/>
              </a:ext>
            </a:extLst>
          </p:cNvPr>
          <p:cNvSpPr txBox="1"/>
          <p:nvPr/>
        </p:nvSpPr>
        <p:spPr>
          <a:xfrm>
            <a:off x="1559138" y="4111573"/>
            <a:ext cx="4813823" cy="1077218"/>
          </a:xfrm>
          <a:prstGeom prst="rect">
            <a:avLst/>
          </a:prstGeom>
          <a:solidFill>
            <a:schemeClr val="bg1"/>
          </a:solidFill>
          <a:ln>
            <a:solidFill>
              <a:srgbClr val="17255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2800" b="1" i="0" u="none" strike="noStrike" kern="1200" cap="none" spc="5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8</a:t>
            </a:r>
            <a:r>
              <a:rPr kumimoji="0" lang="en-US" b="1" i="0" u="none" strike="noStrike" kern="1200" cap="none" spc="50" normalizeH="0" baseline="0" noProof="0" dirty="0">
                <a:ln>
                  <a:noFill/>
                </a:ln>
                <a:solidFill>
                  <a:srgbClr val="17255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layers </a:t>
            </a:r>
            <a:r>
              <a:rPr kumimoji="0" lang="en-US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expressed </a:t>
            </a:r>
            <a:r>
              <a:rPr lang="en-US" b="1" spc="50" dirty="0">
                <a:solidFill>
                  <a:srgbClr val="17255F"/>
                </a:solidFill>
                <a:latin typeface="Arial"/>
                <a:cs typeface="Arial" panose="020B0604020202020204" pitchFamily="34" charset="0"/>
              </a:rPr>
              <a:t>strong interest </a:t>
            </a:r>
            <a:r>
              <a:rPr kumimoji="0" lang="en-US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or large-scale hydrogen storage during Geomethane Open Season in March, 2023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FC0728BC-425D-5FDB-6033-E3547B7C61B0}"/>
              </a:ext>
            </a:extLst>
          </p:cNvPr>
          <p:cNvSpPr txBox="1"/>
          <p:nvPr/>
        </p:nvSpPr>
        <p:spPr>
          <a:xfrm>
            <a:off x="8190132" y="4066798"/>
            <a:ext cx="326571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spc="50" dirty="0">
                <a:latin typeface="Arial"/>
                <a:cs typeface="Arial" panose="020B0604020202020204" pitchFamily="34" charset="0"/>
              </a:rPr>
              <a:t>“Triggered by industrial clusters’ needs</a:t>
            </a:r>
            <a:r>
              <a:rPr lang="en-US" sz="1400" b="1" spc="50" dirty="0">
                <a:solidFill>
                  <a:srgbClr val="17255F"/>
                </a:solidFill>
                <a:latin typeface="Arial"/>
                <a:cs typeface="Arial" panose="020B0604020202020204" pitchFamily="34" charset="0"/>
              </a:rPr>
              <a:t>, H2 storage capacities will ultimately be driven by power sector </a:t>
            </a:r>
            <a:r>
              <a:rPr lang="en-US" sz="1400" spc="50" dirty="0">
                <a:latin typeface="Arial"/>
                <a:cs typeface="Arial" panose="020B0604020202020204" pitchFamily="34" charset="0"/>
              </a:rPr>
              <a:t>flexibility requirements from 2030s onwards”</a:t>
            </a:r>
            <a:endParaRPr lang="fr-FR" sz="1400" spc="50" dirty="0">
              <a:latin typeface="Arial"/>
              <a:cs typeface="Arial" panose="020B0604020202020204" pitchFamily="34" charset="0"/>
            </a:endParaRPr>
          </a:p>
        </p:txBody>
      </p:sp>
      <p:pic>
        <p:nvPicPr>
          <p:cNvPr id="30" name="Picture 2" descr="About the Climate Change Committee - Climate Change Committee">
            <a:extLst>
              <a:ext uri="{FF2B5EF4-FFF2-40B4-BE49-F238E27FC236}">
                <a16:creationId xmlns:a16="http://schemas.microsoft.com/office/drawing/2014/main" id="{4F587A82-A8B3-4F39-B917-AE45A669C5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37574" y="5093901"/>
            <a:ext cx="1286032" cy="430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F83E8B4D-8C7B-8421-767D-B0AD72ED95BD}"/>
              </a:ext>
            </a:extLst>
          </p:cNvPr>
          <p:cNvSpPr txBox="1"/>
          <p:nvPr/>
        </p:nvSpPr>
        <p:spPr>
          <a:xfrm>
            <a:off x="8338229" y="2922869"/>
            <a:ext cx="2977344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kumimoji="0" lang="en-US" sz="110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HS </a:t>
            </a:r>
            <a:r>
              <a:rPr lang="en-US" sz="1100" spc="50" dirty="0">
                <a:latin typeface="Arial"/>
                <a:cs typeface="Arial" panose="020B0604020202020204" pitchFamily="34" charset="0"/>
              </a:rPr>
              <a:t>to offer power grid balancing services, reducing congestion and allowing greater RES production</a:t>
            </a:r>
            <a:endParaRPr kumimoji="0" lang="en-US" sz="1100" i="0" u="none" strike="noStrike" kern="1200" cap="none" spc="5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05AC5A07-E52D-CF0E-3F55-709DBBD259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014" t="44337" r="40169" b="41784"/>
          <a:stretch/>
        </p:blipFill>
        <p:spPr bwMode="auto">
          <a:xfrm>
            <a:off x="5140022" y="5757276"/>
            <a:ext cx="864530" cy="378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96589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B1985D90-15B6-FBBF-E733-BBA3D20B2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898" y="331346"/>
            <a:ext cx="10937833" cy="681182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sz="2400" b="1" dirty="0">
                <a:solidFill>
                  <a:schemeClr val="accent1"/>
                </a:solidFill>
              </a:rPr>
              <a:t>Case </a:t>
            </a:r>
            <a:r>
              <a:rPr lang="fr-FR" sz="2400" b="1" dirty="0" err="1">
                <a:solidFill>
                  <a:schemeClr val="accent1"/>
                </a:solidFill>
              </a:rPr>
              <a:t>Study</a:t>
            </a:r>
            <a:r>
              <a:rPr lang="fr-FR" sz="2400" b="1" dirty="0">
                <a:solidFill>
                  <a:schemeClr val="accent1"/>
                </a:solidFill>
              </a:rPr>
              <a:t> : </a:t>
            </a:r>
            <a:r>
              <a:rPr lang="fr-FR" sz="2400" b="1" dirty="0" err="1">
                <a:solidFill>
                  <a:schemeClr val="accent1"/>
                </a:solidFill>
              </a:rPr>
              <a:t>natural</a:t>
            </a:r>
            <a:r>
              <a:rPr lang="fr-FR" sz="2400" b="1" dirty="0">
                <a:solidFill>
                  <a:schemeClr val="accent1"/>
                </a:solidFill>
              </a:rPr>
              <a:t> </a:t>
            </a:r>
            <a:r>
              <a:rPr lang="fr-FR" sz="2400" b="1" dirty="0" err="1">
                <a:solidFill>
                  <a:schemeClr val="accent1"/>
                </a:solidFill>
              </a:rPr>
              <a:t>gas</a:t>
            </a:r>
            <a:r>
              <a:rPr lang="fr-FR" sz="2400" b="1" dirty="0">
                <a:solidFill>
                  <a:schemeClr val="accent1"/>
                </a:solidFill>
              </a:rPr>
              <a:t> fast-</a:t>
            </a:r>
            <a:r>
              <a:rPr lang="fr-FR" sz="2400" b="1" dirty="0" err="1">
                <a:solidFill>
                  <a:schemeClr val="accent1"/>
                </a:solidFill>
              </a:rPr>
              <a:t>cycling</a:t>
            </a:r>
            <a:r>
              <a:rPr lang="fr-FR" sz="2400" b="1" dirty="0">
                <a:solidFill>
                  <a:schemeClr val="accent1"/>
                </a:solidFill>
              </a:rPr>
              <a:t> </a:t>
            </a:r>
            <a:r>
              <a:rPr lang="fr-FR" sz="2400" b="1" dirty="0" err="1">
                <a:solidFill>
                  <a:schemeClr val="accent1"/>
                </a:solidFill>
              </a:rPr>
              <a:t>storage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6184F17E-B108-46BC-64D1-1CC5C82C8D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9682" y="1302145"/>
            <a:ext cx="7885545" cy="4739718"/>
          </a:xfrm>
          <a:prstGeom prst="rect">
            <a:avLst/>
          </a:prstGeom>
        </p:spPr>
      </p:pic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BDA0DC21-85D4-3F4F-AEFE-1FFA89A5EE90}"/>
              </a:ext>
            </a:extLst>
          </p:cNvPr>
          <p:cNvCxnSpPr>
            <a:cxnSpLocks/>
          </p:cNvCxnSpPr>
          <p:nvPr/>
        </p:nvCxnSpPr>
        <p:spPr>
          <a:xfrm flipH="1">
            <a:off x="9954111" y="1800257"/>
            <a:ext cx="410658" cy="517252"/>
          </a:xfrm>
          <a:prstGeom prst="straightConnector1">
            <a:avLst/>
          </a:prstGeom>
          <a:ln w="57150">
            <a:solidFill>
              <a:srgbClr val="ED7D3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08FB99B4-A3CB-30A7-2140-A4057BF3A5A2}"/>
              </a:ext>
            </a:extLst>
          </p:cNvPr>
          <p:cNvCxnSpPr>
            <a:cxnSpLocks/>
          </p:cNvCxnSpPr>
          <p:nvPr/>
        </p:nvCxnSpPr>
        <p:spPr>
          <a:xfrm flipH="1" flipV="1">
            <a:off x="8507739" y="3620666"/>
            <a:ext cx="1807326" cy="484839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FF0D5427-8B0A-3CF0-60AF-CC91680BECFD}"/>
              </a:ext>
            </a:extLst>
          </p:cNvPr>
          <p:cNvSpPr txBox="1"/>
          <p:nvPr/>
        </p:nvSpPr>
        <p:spPr>
          <a:xfrm>
            <a:off x="9134348" y="1211852"/>
            <a:ext cx="286748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b="1" dirty="0" err="1">
                <a:solidFill>
                  <a:srgbClr val="C55A11"/>
                </a:solidFill>
              </a:rPr>
              <a:t>Highly</a:t>
            </a:r>
            <a:r>
              <a:rPr lang="fr-FR" b="1" dirty="0">
                <a:solidFill>
                  <a:srgbClr val="C55A11"/>
                </a:solidFill>
              </a:rPr>
              <a:t> flexible </a:t>
            </a:r>
            <a:r>
              <a:rPr lang="fr-FR" b="1" dirty="0" err="1">
                <a:solidFill>
                  <a:srgbClr val="C55A11"/>
                </a:solidFill>
              </a:rPr>
              <a:t>storage</a:t>
            </a:r>
            <a:endParaRPr lang="fr-FR" b="1" dirty="0">
              <a:solidFill>
                <a:srgbClr val="C55A11"/>
              </a:solidFill>
            </a:endParaRPr>
          </a:p>
          <a:p>
            <a:pPr algn="ctr"/>
            <a:r>
              <a:rPr lang="fr-FR" dirty="0">
                <a:solidFill>
                  <a:srgbClr val="C55A11"/>
                </a:solidFill>
              </a:rPr>
              <a:t>4 cycles </a:t>
            </a:r>
            <a:r>
              <a:rPr lang="fr-FR" dirty="0" err="1">
                <a:solidFill>
                  <a:srgbClr val="C55A11"/>
                </a:solidFill>
              </a:rPr>
              <a:t>equivalent</a:t>
            </a:r>
            <a:r>
              <a:rPr lang="fr-FR" dirty="0">
                <a:solidFill>
                  <a:srgbClr val="C55A11"/>
                </a:solidFill>
              </a:rPr>
              <a:t> / </a:t>
            </a:r>
            <a:r>
              <a:rPr lang="fr-FR" dirty="0" err="1">
                <a:solidFill>
                  <a:srgbClr val="C55A11"/>
                </a:solidFill>
              </a:rPr>
              <a:t>year</a:t>
            </a:r>
            <a:endParaRPr lang="fr-FR" dirty="0">
              <a:solidFill>
                <a:srgbClr val="C55A11"/>
              </a:solidFill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5DF8A65F-31A0-CCEF-FA7A-254804CC6775}"/>
              </a:ext>
            </a:extLst>
          </p:cNvPr>
          <p:cNvSpPr txBox="1"/>
          <p:nvPr/>
        </p:nvSpPr>
        <p:spPr>
          <a:xfrm>
            <a:off x="8730346" y="4139380"/>
            <a:ext cx="3207657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b="1" dirty="0" err="1">
                <a:solidFill>
                  <a:srgbClr val="0070C0"/>
                </a:solidFill>
              </a:rPr>
              <a:t>Classic</a:t>
            </a:r>
            <a:r>
              <a:rPr lang="fr-FR" b="1" dirty="0">
                <a:solidFill>
                  <a:srgbClr val="0070C0"/>
                </a:solidFill>
              </a:rPr>
              <a:t> </a:t>
            </a:r>
            <a:r>
              <a:rPr lang="fr-FR" b="1" dirty="0" err="1">
                <a:solidFill>
                  <a:srgbClr val="0070C0"/>
                </a:solidFill>
              </a:rPr>
              <a:t>seasonal</a:t>
            </a:r>
            <a:r>
              <a:rPr lang="fr-FR" b="1" dirty="0">
                <a:solidFill>
                  <a:srgbClr val="0070C0"/>
                </a:solidFill>
              </a:rPr>
              <a:t> </a:t>
            </a:r>
            <a:r>
              <a:rPr lang="fr-FR" b="1" dirty="0" err="1">
                <a:solidFill>
                  <a:srgbClr val="0070C0"/>
                </a:solidFill>
              </a:rPr>
              <a:t>storage</a:t>
            </a:r>
            <a:endParaRPr lang="fr-FR" b="1" dirty="0">
              <a:solidFill>
                <a:srgbClr val="0070C0"/>
              </a:solidFill>
            </a:endParaRPr>
          </a:p>
          <a:p>
            <a:pPr algn="ctr"/>
            <a:r>
              <a:rPr lang="fr-FR" dirty="0">
                <a:solidFill>
                  <a:srgbClr val="0070C0"/>
                </a:solidFill>
              </a:rPr>
              <a:t>3 cycles </a:t>
            </a:r>
            <a:r>
              <a:rPr lang="fr-FR" dirty="0" err="1">
                <a:solidFill>
                  <a:srgbClr val="0070C0"/>
                </a:solidFill>
              </a:rPr>
              <a:t>equivalent</a:t>
            </a:r>
            <a:r>
              <a:rPr lang="fr-FR" dirty="0">
                <a:solidFill>
                  <a:srgbClr val="0070C0"/>
                </a:solidFill>
              </a:rPr>
              <a:t> / </a:t>
            </a:r>
            <a:r>
              <a:rPr lang="fr-FR" dirty="0" err="1">
                <a:solidFill>
                  <a:srgbClr val="0070C0"/>
                </a:solidFill>
              </a:rPr>
              <a:t>year</a:t>
            </a:r>
            <a:endParaRPr lang="fr-FR" dirty="0">
              <a:solidFill>
                <a:srgbClr val="0070C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5B2042-3043-06CD-EE29-F12345625CF0}"/>
              </a:ext>
            </a:extLst>
          </p:cNvPr>
          <p:cNvSpPr/>
          <p:nvPr/>
        </p:nvSpPr>
        <p:spPr>
          <a:xfrm>
            <a:off x="3539322" y="1984923"/>
            <a:ext cx="657546" cy="28022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3935E6-CF4C-5EF4-DB5A-3B27D63AFB06}"/>
              </a:ext>
            </a:extLst>
          </p:cNvPr>
          <p:cNvSpPr/>
          <p:nvPr/>
        </p:nvSpPr>
        <p:spPr>
          <a:xfrm>
            <a:off x="4053049" y="1462814"/>
            <a:ext cx="4188570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dirty="0">
                <a:solidFill>
                  <a:schemeClr val="tx1"/>
                </a:solidFill>
              </a:rPr>
              <a:t>Storage </a:t>
            </a:r>
            <a:r>
              <a:rPr lang="fr-FR" sz="2000" dirty="0" err="1">
                <a:solidFill>
                  <a:schemeClr val="tx1"/>
                </a:solidFill>
              </a:rPr>
              <a:t>capacity</a:t>
            </a:r>
            <a:r>
              <a:rPr lang="fr-FR" sz="2000" dirty="0">
                <a:solidFill>
                  <a:schemeClr val="tx1"/>
                </a:solidFill>
              </a:rPr>
              <a:t> </a:t>
            </a:r>
            <a:r>
              <a:rPr lang="fr-FR" sz="2000" dirty="0" err="1">
                <a:solidFill>
                  <a:schemeClr val="tx1"/>
                </a:solidFill>
              </a:rPr>
              <a:t>evolution</a:t>
            </a:r>
            <a:endParaRPr lang="fr-FR" sz="2000" dirty="0">
              <a:solidFill>
                <a:schemeClr val="tx1"/>
              </a:solidFill>
            </a:endParaRPr>
          </a:p>
          <a:p>
            <a:pPr algn="ctr"/>
            <a:r>
              <a:rPr lang="fr-FR" sz="2000" dirty="0">
                <a:solidFill>
                  <a:schemeClr val="tx1"/>
                </a:solidFill>
              </a:rPr>
              <a:t>over a </a:t>
            </a:r>
            <a:r>
              <a:rPr lang="fr-FR" sz="2000" dirty="0" err="1">
                <a:solidFill>
                  <a:schemeClr val="tx1"/>
                </a:solidFill>
              </a:rPr>
              <a:t>year</a:t>
            </a:r>
            <a:r>
              <a:rPr lang="fr-FR" sz="2000" dirty="0">
                <a:solidFill>
                  <a:schemeClr val="tx1"/>
                </a:solidFill>
              </a:rPr>
              <a:t> (TWh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485D374-8333-9FB1-4265-32D672106860}"/>
              </a:ext>
            </a:extLst>
          </p:cNvPr>
          <p:cNvSpPr/>
          <p:nvPr/>
        </p:nvSpPr>
        <p:spPr>
          <a:xfrm>
            <a:off x="3233286" y="2311829"/>
            <a:ext cx="1073191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solidFill>
                  <a:schemeClr val="accent5"/>
                </a:solidFill>
              </a:rPr>
              <a:t>5 TWh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7D3639F-F65F-E9CD-B5A9-6C1FD5EB2E02}"/>
              </a:ext>
            </a:extLst>
          </p:cNvPr>
          <p:cNvSpPr/>
          <p:nvPr/>
        </p:nvSpPr>
        <p:spPr>
          <a:xfrm>
            <a:off x="3561601" y="3201387"/>
            <a:ext cx="744876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3 TWh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4097B9F-A04A-9145-5ABB-96AF26FEA62C}"/>
              </a:ext>
            </a:extLst>
          </p:cNvPr>
          <p:cNvSpPr/>
          <p:nvPr/>
        </p:nvSpPr>
        <p:spPr>
          <a:xfrm>
            <a:off x="3561601" y="3614474"/>
            <a:ext cx="744876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>
                <a:solidFill>
                  <a:schemeClr val="tx1"/>
                </a:solidFill>
              </a:rPr>
              <a:t>2 TWh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30076D4C-6EE1-5771-2435-480810AD120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1677" y="982394"/>
            <a:ext cx="3061609" cy="3827985"/>
          </a:xfrm>
          <a:prstGeom prst="rect">
            <a:avLst/>
          </a:prstGeom>
          <a:ln w="22225">
            <a:solidFill>
              <a:srgbClr val="C00000"/>
            </a:solidFill>
            <a:prstDash val="sysDot"/>
          </a:ln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93FACF5-4F2C-A5BC-FEA1-772C1C292F0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334" y="4905071"/>
            <a:ext cx="2634482" cy="1864260"/>
          </a:xfrm>
          <a:prstGeom prst="rect">
            <a:avLst/>
          </a:prstGeom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A301803F-1B0E-4298-597A-017B265CA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5691" y="5903627"/>
            <a:ext cx="424042" cy="282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Flag of Spain - Wikipedia">
            <a:extLst>
              <a:ext uri="{FF2B5EF4-FFF2-40B4-BE49-F238E27FC236}">
                <a16:creationId xmlns:a16="http://schemas.microsoft.com/office/drawing/2014/main" id="{807A6B53-6CE3-C0CC-3F49-FCED56A86E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521" y="6595590"/>
            <a:ext cx="412540" cy="274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Gerader Verbinder 442">
            <a:extLst>
              <a:ext uri="{FF2B5EF4-FFF2-40B4-BE49-F238E27FC236}">
                <a16:creationId xmlns:a16="http://schemas.microsoft.com/office/drawing/2014/main" id="{01C498B7-5101-B6A3-5118-FF0BA2D7002D}"/>
              </a:ext>
            </a:extLst>
          </p:cNvPr>
          <p:cNvCxnSpPr>
            <a:cxnSpLocks/>
            <a:stCxn id="22" idx="5"/>
          </p:cNvCxnSpPr>
          <p:nvPr/>
        </p:nvCxnSpPr>
        <p:spPr>
          <a:xfrm flipV="1">
            <a:off x="2300482" y="4799529"/>
            <a:ext cx="924991" cy="1136200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443">
            <a:extLst>
              <a:ext uri="{FF2B5EF4-FFF2-40B4-BE49-F238E27FC236}">
                <a16:creationId xmlns:a16="http://schemas.microsoft.com/office/drawing/2014/main" id="{5E290417-E198-2408-5862-294085BFCA74}"/>
              </a:ext>
            </a:extLst>
          </p:cNvPr>
          <p:cNvCxnSpPr>
            <a:cxnSpLocks/>
            <a:stCxn id="22" idx="3"/>
          </p:cNvCxnSpPr>
          <p:nvPr/>
        </p:nvCxnSpPr>
        <p:spPr>
          <a:xfrm flipH="1" flipV="1">
            <a:off x="171677" y="4787183"/>
            <a:ext cx="1887276" cy="1148546"/>
          </a:xfrm>
          <a:prstGeom prst="line">
            <a:avLst/>
          </a:prstGeom>
          <a:ln w="22225">
            <a:solidFill>
              <a:srgbClr val="C0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D3705D27-4F29-AA1C-5DB9-4DB8D8F72804}"/>
              </a:ext>
            </a:extLst>
          </p:cNvPr>
          <p:cNvSpPr/>
          <p:nvPr/>
        </p:nvSpPr>
        <p:spPr>
          <a:xfrm>
            <a:off x="2008930" y="5664258"/>
            <a:ext cx="341575" cy="318048"/>
          </a:xfrm>
          <a:prstGeom prst="ellipse">
            <a:avLst/>
          </a:prstGeom>
          <a:solidFill>
            <a:srgbClr val="C00000">
              <a:alpha val="30196"/>
            </a:srgbClr>
          </a:solidFill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6B605A88-EE71-107B-4F4A-2070ED951C11}"/>
              </a:ext>
            </a:extLst>
          </p:cNvPr>
          <p:cNvSpPr txBox="1"/>
          <p:nvPr/>
        </p:nvSpPr>
        <p:spPr>
          <a:xfrm>
            <a:off x="2600627" y="5652535"/>
            <a:ext cx="1075532" cy="36933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/>
            <a:r>
              <a:rPr lang="en-US" sz="1800" b="1" spc="-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lt"/>
                <a:cs typeface="Calibri" panose="020F0502020204030204" pitchFamily="34" charset="0"/>
              </a:rPr>
              <a:t>HYPSTER</a:t>
            </a:r>
            <a:endParaRPr lang="fr-F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09543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Thème Office">
  <a:themeElements>
    <a:clrScheme name="Personnalisé 1">
      <a:dk1>
        <a:srgbClr val="353A3A"/>
      </a:dk1>
      <a:lt1>
        <a:srgbClr val="FFFFFF"/>
      </a:lt1>
      <a:dk2>
        <a:srgbClr val="FFFFFF"/>
      </a:dk2>
      <a:lt2>
        <a:srgbClr val="E7E6E6"/>
      </a:lt2>
      <a:accent1>
        <a:srgbClr val="59B3C3"/>
      </a:accent1>
      <a:accent2>
        <a:srgbClr val="55B893"/>
      </a:accent2>
      <a:accent3>
        <a:srgbClr val="23D2B5"/>
      </a:accent3>
      <a:accent4>
        <a:srgbClr val="00BCFD"/>
      </a:accent4>
      <a:accent5>
        <a:srgbClr val="F78A30"/>
      </a:accent5>
      <a:accent6>
        <a:srgbClr val="58B3C4"/>
      </a:accent6>
      <a:hlink>
        <a:srgbClr val="58B3C4"/>
      </a:hlink>
      <a:folHlink>
        <a:srgbClr val="58B3C4"/>
      </a:folHlink>
    </a:clrScheme>
    <a:fontScheme name="Typos Storeng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Conception personnalisée">
  <a:themeElements>
    <a:clrScheme name="Storengy">
      <a:dk1>
        <a:sysClr val="windowText" lastClr="000000"/>
      </a:dk1>
      <a:lt1>
        <a:sysClr val="window" lastClr="FFFFFF"/>
      </a:lt1>
      <a:dk2>
        <a:srgbClr val="353A3D"/>
      </a:dk2>
      <a:lt2>
        <a:srgbClr val="E7E6E6"/>
      </a:lt2>
      <a:accent1>
        <a:srgbClr val="59B3C3"/>
      </a:accent1>
      <a:accent2>
        <a:srgbClr val="55B893"/>
      </a:accent2>
      <a:accent3>
        <a:srgbClr val="F78A31"/>
      </a:accent3>
      <a:accent4>
        <a:srgbClr val="006B78"/>
      </a:accent4>
      <a:accent5>
        <a:srgbClr val="0573EE"/>
      </a:accent5>
      <a:accent6>
        <a:srgbClr val="E74A50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E1D2023FA44142B5E23BBAF9583B6F" ma:contentTypeVersion="15" ma:contentTypeDescription="Crée un document." ma:contentTypeScope="" ma:versionID="38f8d2f205a9ea351443fdf8914893c3">
  <xsd:schema xmlns:xsd="http://www.w3.org/2001/XMLSchema" xmlns:xs="http://www.w3.org/2001/XMLSchema" xmlns:p="http://schemas.microsoft.com/office/2006/metadata/properties" xmlns:ns2="87037488-ec5d-4aba-84c2-9b1d22638e8e" xmlns:ns3="161dcbfa-c904-4e5e-9aae-c3a2fb77cf0a" xmlns:ns4="531e3727-d50d-4e78-b64f-3c422abfbb9f" targetNamespace="http://schemas.microsoft.com/office/2006/metadata/properties" ma:root="true" ma:fieldsID="8fbec0944d928b15fc1de7756ee96cf8" ns2:_="" ns3:_="" ns4:_="">
    <xsd:import namespace="87037488-ec5d-4aba-84c2-9b1d22638e8e"/>
    <xsd:import namespace="161dcbfa-c904-4e5e-9aae-c3a2fb77cf0a"/>
    <xsd:import namespace="531e3727-d50d-4e78-b64f-3c422abfbb9f"/>
    <xsd:element name="properties">
      <xsd:complexType>
        <xsd:sequence>
          <xsd:element name="documentManagement">
            <xsd:complexType>
              <xsd:all>
                <xsd:element ref="ns2:b1b820adfd3e4a078472514c1a5cb5ff" minOccurs="0"/>
                <xsd:element ref="ns2:TaxCatchAll" minOccurs="0"/>
                <xsd:element ref="ns2:TaxCatchAllLabel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cae2f0da-c091-422c-9c00-47b287a21efb}" ma:internalName="TaxCatchAll" ma:showField="CatchAllData" ma:web="531e3727-d50d-4e78-b64f-3c422abfbb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cae2f0da-c091-422c-9c00-47b287a21efb}" ma:internalName="TaxCatchAllLabel" ma:readOnly="true" ma:showField="CatchAllDataLabel" ma:web="531e3727-d50d-4e78-b64f-3c422abfbb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dcbfa-c904-4e5e-9aae-c3a2fb77cf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Balises d’images" ma:readOnly="false" ma:fieldId="{5cf76f15-5ced-4ddc-b409-7134ff3c332f}" ma:taxonomyMulti="true" ma:sspId="3bf472f7-a010-4b5a-bb99-a26ed4c9968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1e3727-d50d-4e78-b64f-3c422abfbb9f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1b820adfd3e4a078472514c1a5cb5ff xmlns="87037488-ec5d-4aba-84c2-9b1d22638e8e">
      <Terms xmlns="http://schemas.microsoft.com/office/infopath/2007/PartnerControls"/>
    </b1b820adfd3e4a078472514c1a5cb5ff>
    <TaxCatchAll xmlns="87037488-ec5d-4aba-84c2-9b1d22638e8e" xsi:nil="true"/>
    <lcf76f155ced4ddcb4097134ff3c332f xmlns="161dcbfa-c904-4e5e-9aae-c3a2fb77cf0a">
      <Terms xmlns="http://schemas.microsoft.com/office/infopath/2007/PartnerControls"/>
    </lcf76f155ced4ddcb4097134ff3c332f>
  </documentManagement>
</p:properties>
</file>

<file path=customXml/item3.xml><?xml version="1.0" encoding="utf-8"?>
<?mso-contentType ?>
<SharedContentType xmlns="Microsoft.SharePoint.Taxonomy.ContentTypeSync" SourceId="3bf472f7-a010-4b5a-bb99-a26ed4c99680" ContentTypeId="0x0101" PreviousValue="false"/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B14FC1F-8FFE-45D0-B486-CE2F0DEF6623}">
  <ds:schemaRefs>
    <ds:schemaRef ds:uri="161dcbfa-c904-4e5e-9aae-c3a2fb77cf0a"/>
    <ds:schemaRef ds:uri="531e3727-d50d-4e78-b64f-3c422abfbb9f"/>
    <ds:schemaRef ds:uri="87037488-ec5d-4aba-84c2-9b1d22638e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D1D7C8C-F027-46A1-B995-3B389DF1C354}">
  <ds:schemaRefs>
    <ds:schemaRef ds:uri="161dcbfa-c904-4e5e-9aae-c3a2fb77cf0a"/>
    <ds:schemaRef ds:uri="3f6920d3-8800-4061-a6e1-1f519c31e792"/>
    <ds:schemaRef ds:uri="87037488-ec5d-4aba-84c2-9b1d22638e8e"/>
    <ds:schemaRef ds:uri="c47057b4-5462-40d5-bbd9-7c2c84422d1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E82699F-C90A-4644-8D18-E0CEA083C52D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C2D8C4AD-727A-4CDB-BE72-A572A5DE449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c135c4ba-2280-41f8-be7d-6f21d368baa3}" enabled="1" method="Standard" siteId="{24139d14-c62c-4c47-8bdd-ce71ea1d50c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24</Words>
  <Application>Microsoft Office PowerPoint</Application>
  <PresentationFormat>Širokouhlá</PresentationFormat>
  <Paragraphs>128</Paragraphs>
  <Slides>14</Slides>
  <Notes>4</Notes>
  <HiddenSlides>0</HiddenSlides>
  <MMClips>0</MMClips>
  <ScaleCrop>false</ScaleCrop>
  <HeadingPairs>
    <vt:vector size="8" baseType="variant">
      <vt:variant>
        <vt:lpstr>Použité písma</vt:lpstr>
      </vt:variant>
      <vt:variant>
        <vt:i4>8</vt:i4>
      </vt:variant>
      <vt:variant>
        <vt:lpstr>Motív</vt:lpstr>
      </vt:variant>
      <vt:variant>
        <vt:i4>9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4</vt:i4>
      </vt:variant>
    </vt:vector>
  </HeadingPairs>
  <TitlesOfParts>
    <vt:vector size="32" baseType="lpstr">
      <vt:lpstr>Arial</vt:lpstr>
      <vt:lpstr>Arial Black</vt:lpstr>
      <vt:lpstr>Arial Nova</vt:lpstr>
      <vt:lpstr>Calibri</vt:lpstr>
      <vt:lpstr>Calibri Light</vt:lpstr>
      <vt:lpstr>Montserrat</vt:lpstr>
      <vt:lpstr>Red Hat Display</vt:lpstr>
      <vt:lpstr>Wingdings</vt:lpstr>
      <vt:lpstr>Conception personnalisée</vt:lpstr>
      <vt:lpstr>1_Conception personnalisée</vt:lpstr>
      <vt:lpstr>2_Conception personnalisée</vt:lpstr>
      <vt:lpstr>3_Conception personnalisée</vt:lpstr>
      <vt:lpstr>1_Thème Office</vt:lpstr>
      <vt:lpstr>4_Conception personnalisée</vt:lpstr>
      <vt:lpstr>Conception personnalisée</vt:lpstr>
      <vt:lpstr>4_Thème Office</vt:lpstr>
      <vt:lpstr>5_Conception personnalisée</vt:lpstr>
      <vt:lpstr>Diapositive think-cell</vt:lpstr>
      <vt:lpstr>Prezentácia programu PowerPoint</vt:lpstr>
      <vt:lpstr>Storengy CH4 storage facilities</vt:lpstr>
      <vt:lpstr>Our ambition :  A European leader in underground hydrogen storage</vt:lpstr>
      <vt:lpstr>Prezentácia programu PowerPoint</vt:lpstr>
      <vt:lpstr>Large-scale H2 infrastructures business case grows stronger by the day</vt:lpstr>
      <vt:lpstr>Prezentácia programu PowerPoint</vt:lpstr>
      <vt:lpstr>GEOH2 – underground hydrogen storage in the South of France</vt:lpstr>
      <vt:lpstr>A growing interest from various market players</vt:lpstr>
      <vt:lpstr>Case Study : natural gas fast-cycling storage</vt:lpstr>
      <vt:lpstr>A world-first industrial scale UHS project</vt:lpstr>
      <vt:lpstr>A world-first industrial scale UHS project</vt:lpstr>
      <vt:lpstr>Agenda</vt:lpstr>
      <vt:lpstr>Prezentácia programu PowerPoint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atherine Gras</dc:creator>
  <cp:lastModifiedBy>Bocmanová Petra</cp:lastModifiedBy>
  <cp:revision>3</cp:revision>
  <dcterms:created xsi:type="dcterms:W3CDTF">2021-05-26T15:11:08Z</dcterms:created>
  <dcterms:modified xsi:type="dcterms:W3CDTF">2023-06-01T06:5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135c4ba-2280-41f8-be7d-6f21d368baa3_Enabled">
    <vt:lpwstr>true</vt:lpwstr>
  </property>
  <property fmtid="{D5CDD505-2E9C-101B-9397-08002B2CF9AE}" pid="3" name="MSIP_Label_c135c4ba-2280-41f8-be7d-6f21d368baa3_SetDate">
    <vt:lpwstr>2021-05-26T15:11:08Z</vt:lpwstr>
  </property>
  <property fmtid="{D5CDD505-2E9C-101B-9397-08002B2CF9AE}" pid="4" name="MSIP_Label_c135c4ba-2280-41f8-be7d-6f21d368baa3_Method">
    <vt:lpwstr>Standard</vt:lpwstr>
  </property>
  <property fmtid="{D5CDD505-2E9C-101B-9397-08002B2CF9AE}" pid="5" name="MSIP_Label_c135c4ba-2280-41f8-be7d-6f21d368baa3_Name">
    <vt:lpwstr>c135c4ba-2280-41f8-be7d-6f21d368baa3</vt:lpwstr>
  </property>
  <property fmtid="{D5CDD505-2E9C-101B-9397-08002B2CF9AE}" pid="6" name="MSIP_Label_c135c4ba-2280-41f8-be7d-6f21d368baa3_SiteId">
    <vt:lpwstr>24139d14-c62c-4c47-8bdd-ce71ea1d50cf</vt:lpwstr>
  </property>
  <property fmtid="{D5CDD505-2E9C-101B-9397-08002B2CF9AE}" pid="7" name="MSIP_Label_c135c4ba-2280-41f8-be7d-6f21d368baa3_ActionId">
    <vt:lpwstr>8acabda5-07e6-400d-afdb-dd0ce48c9d99</vt:lpwstr>
  </property>
  <property fmtid="{D5CDD505-2E9C-101B-9397-08002B2CF9AE}" pid="8" name="MSIP_Label_c135c4ba-2280-41f8-be7d-6f21d368baa3_ContentBits">
    <vt:lpwstr>0</vt:lpwstr>
  </property>
  <property fmtid="{D5CDD505-2E9C-101B-9397-08002B2CF9AE}" pid="9" name="Security Classification">
    <vt:lpwstr/>
  </property>
  <property fmtid="{D5CDD505-2E9C-101B-9397-08002B2CF9AE}" pid="10" name="MediaServiceImageTags">
    <vt:lpwstr/>
  </property>
  <property fmtid="{D5CDD505-2E9C-101B-9397-08002B2CF9AE}" pid="11" name="ContentTypeId">
    <vt:lpwstr>0x0101005DE1D2023FA44142B5E23BBAF9583B6F</vt:lpwstr>
  </property>
</Properties>
</file>